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7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08" r:id="rId4"/>
    <p:sldMasterId id="2147483925" r:id="rId5"/>
    <p:sldMasterId id="2147483942" r:id="rId6"/>
    <p:sldMasterId id="2147484002" r:id="rId7"/>
    <p:sldMasterId id="2147484012" r:id="rId8"/>
    <p:sldMasterId id="2147484024" r:id="rId9"/>
  </p:sldMasterIdLst>
  <p:notesMasterIdLst>
    <p:notesMasterId r:id="rId32"/>
  </p:notesMasterIdLst>
  <p:sldIdLst>
    <p:sldId id="10660" r:id="rId10"/>
    <p:sldId id="2147476133" r:id="rId11"/>
    <p:sldId id="2147476148" r:id="rId12"/>
    <p:sldId id="2147476039" r:id="rId13"/>
    <p:sldId id="2147476143" r:id="rId14"/>
    <p:sldId id="2147476057" r:id="rId15"/>
    <p:sldId id="2147476136" r:id="rId16"/>
    <p:sldId id="2147476106" r:id="rId17"/>
    <p:sldId id="272" r:id="rId18"/>
    <p:sldId id="2147476146" r:id="rId19"/>
    <p:sldId id="2147476104" r:id="rId20"/>
    <p:sldId id="264" r:id="rId21"/>
    <p:sldId id="258" r:id="rId22"/>
    <p:sldId id="2147476139" r:id="rId23"/>
    <p:sldId id="2147476105" r:id="rId24"/>
    <p:sldId id="2147476140" r:id="rId25"/>
    <p:sldId id="2147476138" r:id="rId26"/>
    <p:sldId id="327" r:id="rId27"/>
    <p:sldId id="328" r:id="rId28"/>
    <p:sldId id="372" r:id="rId29"/>
    <p:sldId id="2147476147" r:id="rId30"/>
    <p:sldId id="2147476079" r:id="rId31"/>
  </p:sldIdLst>
  <p:sldSz cx="12192000" cy="6858000"/>
  <p:notesSz cx="7315200" cy="9601200"/>
  <p:custDataLst>
    <p:tags r:id="rId33"/>
  </p:custDataLst>
  <p:defaultTextStyle>
    <a:defPPr>
      <a:defRPr lang="es-CL"/>
    </a:defPPr>
    <a:lvl1pPr marL="0" algn="l" defTabSz="686440" rtl="0" eaLnBrk="1" latinLnBrk="0" hangingPunct="1">
      <a:defRPr sz="1351" kern="1200">
        <a:solidFill>
          <a:schemeClr val="tx1"/>
        </a:solidFill>
        <a:latin typeface="+mn-lt"/>
        <a:ea typeface="+mn-ea"/>
        <a:cs typeface="+mn-cs"/>
      </a:defRPr>
    </a:lvl1pPr>
    <a:lvl2pPr marL="343220" algn="l" defTabSz="686440" rtl="0" eaLnBrk="1" latinLnBrk="0" hangingPunct="1">
      <a:defRPr sz="1351" kern="1200">
        <a:solidFill>
          <a:schemeClr val="tx1"/>
        </a:solidFill>
        <a:latin typeface="+mn-lt"/>
        <a:ea typeface="+mn-ea"/>
        <a:cs typeface="+mn-cs"/>
      </a:defRPr>
    </a:lvl2pPr>
    <a:lvl3pPr marL="686440" algn="l" defTabSz="686440" rtl="0" eaLnBrk="1" latinLnBrk="0" hangingPunct="1">
      <a:defRPr sz="1351" kern="1200">
        <a:solidFill>
          <a:schemeClr val="tx1"/>
        </a:solidFill>
        <a:latin typeface="+mn-lt"/>
        <a:ea typeface="+mn-ea"/>
        <a:cs typeface="+mn-cs"/>
      </a:defRPr>
    </a:lvl3pPr>
    <a:lvl4pPr marL="1029660" algn="l" defTabSz="686440" rtl="0" eaLnBrk="1" latinLnBrk="0" hangingPunct="1">
      <a:defRPr sz="1351" kern="1200">
        <a:solidFill>
          <a:schemeClr val="tx1"/>
        </a:solidFill>
        <a:latin typeface="+mn-lt"/>
        <a:ea typeface="+mn-ea"/>
        <a:cs typeface="+mn-cs"/>
      </a:defRPr>
    </a:lvl4pPr>
    <a:lvl5pPr marL="1372880" algn="l" defTabSz="686440" rtl="0" eaLnBrk="1" latinLnBrk="0" hangingPunct="1">
      <a:defRPr sz="1351" kern="1200">
        <a:solidFill>
          <a:schemeClr val="tx1"/>
        </a:solidFill>
        <a:latin typeface="+mn-lt"/>
        <a:ea typeface="+mn-ea"/>
        <a:cs typeface="+mn-cs"/>
      </a:defRPr>
    </a:lvl5pPr>
    <a:lvl6pPr marL="1716100" algn="l" defTabSz="686440" rtl="0" eaLnBrk="1" latinLnBrk="0" hangingPunct="1">
      <a:defRPr sz="1351" kern="1200">
        <a:solidFill>
          <a:schemeClr val="tx1"/>
        </a:solidFill>
        <a:latin typeface="+mn-lt"/>
        <a:ea typeface="+mn-ea"/>
        <a:cs typeface="+mn-cs"/>
      </a:defRPr>
    </a:lvl6pPr>
    <a:lvl7pPr marL="2059320" algn="l" defTabSz="686440" rtl="0" eaLnBrk="1" latinLnBrk="0" hangingPunct="1">
      <a:defRPr sz="1351" kern="1200">
        <a:solidFill>
          <a:schemeClr val="tx1"/>
        </a:solidFill>
        <a:latin typeface="+mn-lt"/>
        <a:ea typeface="+mn-ea"/>
        <a:cs typeface="+mn-cs"/>
      </a:defRPr>
    </a:lvl7pPr>
    <a:lvl8pPr marL="2402540" algn="l" defTabSz="686440" rtl="0" eaLnBrk="1" latinLnBrk="0" hangingPunct="1">
      <a:defRPr sz="1351" kern="1200">
        <a:solidFill>
          <a:schemeClr val="tx1"/>
        </a:solidFill>
        <a:latin typeface="+mn-lt"/>
        <a:ea typeface="+mn-ea"/>
        <a:cs typeface="+mn-cs"/>
      </a:defRPr>
    </a:lvl8pPr>
    <a:lvl9pPr marL="2745760" algn="l" defTabSz="686440" rtl="0" eaLnBrk="1" latinLnBrk="0" hangingPunct="1">
      <a:defRPr sz="135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pos="461" userDrawn="1">
          <p15:clr>
            <a:srgbClr val="A4A3A4"/>
          </p15:clr>
        </p15:guide>
        <p15:guide id="3" orient="horz" pos="3566" userDrawn="1">
          <p15:clr>
            <a:srgbClr val="A4A3A4"/>
          </p15:clr>
        </p15:guide>
        <p15:guide id="7" pos="7446" userDrawn="1">
          <p15:clr>
            <a:srgbClr val="A4A3A4"/>
          </p15:clr>
        </p15:guide>
        <p15:guide id="10" pos="3386" userDrawn="1">
          <p15:clr>
            <a:srgbClr val="A4A3A4"/>
          </p15:clr>
        </p15:guide>
        <p15:guide id="11" orient="horz" pos="1979" userDrawn="1">
          <p15:clr>
            <a:srgbClr val="A4A3A4"/>
          </p15:clr>
        </p15:guide>
        <p15:guide id="12" orient="horz" pos="313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eronica Cordones" initials="VC" lastIdx="2" clrIdx="0">
    <p:extLst>
      <p:ext uri="{19B8F6BF-5375-455C-9EA6-DF929625EA0E}">
        <p15:presenceInfo xmlns:p15="http://schemas.microsoft.com/office/powerpoint/2012/main" userId="S::vcordones@metro.cl::af9118b4-c9ed-442a-a4d9-0336e331b498" providerId="AD"/>
      </p:ext>
    </p:extLst>
  </p:cmAuthor>
  <p:cmAuthor id="2" name="Yolanda Leon" initials="YL" lastIdx="1" clrIdx="1">
    <p:extLst>
      <p:ext uri="{19B8F6BF-5375-455C-9EA6-DF929625EA0E}">
        <p15:presenceInfo xmlns:p15="http://schemas.microsoft.com/office/powerpoint/2012/main" userId="S::YLeon@metro.cl::034179c9-2eca-4f10-af7e-523f4d34806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0D27"/>
    <a:srgbClr val="9A3488"/>
    <a:srgbClr val="179859"/>
    <a:srgbClr val="0471B9"/>
    <a:srgbClr val="2D2B73"/>
    <a:srgbClr val="FAB515"/>
    <a:srgbClr val="DCAED4"/>
    <a:srgbClr val="F8EEF6"/>
    <a:srgbClr val="F5E7F2"/>
    <a:srgbClr val="EFD9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E2A3F7-5307-43B4-B7E4-DDCFCE959FF8}" v="206" dt="2024-11-27T12:50:42.8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Estilo claro 1 - Acento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691" y="77"/>
      </p:cViewPr>
      <p:guideLst>
        <p:guide orient="horz" pos="799"/>
        <p:guide pos="461"/>
        <p:guide orient="horz" pos="3566"/>
        <p:guide pos="7446"/>
        <p:guide pos="3386"/>
        <p:guide orient="horz" pos="1979"/>
        <p:guide orient="horz" pos="313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microsoft.com/office/2016/11/relationships/changesInfo" Target="changesInfos/changesInfo1.xml"/><Relationship Id="rId21" Type="http://schemas.openxmlformats.org/officeDocument/2006/relationships/slide" Target="slides/slide12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is Argomedo" userId="S::largomedo@metro.cl::84289e63-383a-488e-a09b-75dd559f2e49" providerId="AD" clId="Web-{08BD00B4-6E89-41D7-964D-A8C4823FAF0E}"/>
    <pc:docChg chg="addSld delSld">
      <pc:chgData name="Luis Argomedo" userId="S::largomedo@metro.cl::84289e63-383a-488e-a09b-75dd559f2e49" providerId="AD" clId="Web-{08BD00B4-6E89-41D7-964D-A8C4823FAF0E}" dt="2024-10-03T13:34:08.686" v="1"/>
      <pc:docMkLst>
        <pc:docMk/>
      </pc:docMkLst>
      <pc:sldChg chg="new del">
        <pc:chgData name="Luis Argomedo" userId="S::largomedo@metro.cl::84289e63-383a-488e-a09b-75dd559f2e49" providerId="AD" clId="Web-{08BD00B4-6E89-41D7-964D-A8C4823FAF0E}" dt="2024-10-03T13:34:08.686" v="1"/>
        <pc:sldMkLst>
          <pc:docMk/>
          <pc:sldMk cId="2525075708" sldId="2147476182"/>
        </pc:sldMkLst>
      </pc:sldChg>
    </pc:docChg>
  </pc:docChgLst>
  <pc:docChgLst>
    <pc:chgData name="Luis Argomedo" userId="84289e63-383a-488e-a09b-75dd559f2e49" providerId="ADAL" clId="{52D12791-53FE-495F-A5F2-C5A3E4036C64}"/>
    <pc:docChg chg="undo custSel delSld modSld sldOrd">
      <pc:chgData name="Luis Argomedo" userId="84289e63-383a-488e-a09b-75dd559f2e49" providerId="ADAL" clId="{52D12791-53FE-495F-A5F2-C5A3E4036C64}" dt="2024-11-26T17:47:33.849" v="315" actId="2696"/>
      <pc:docMkLst>
        <pc:docMk/>
      </pc:docMkLst>
      <pc:sldChg chg="modSp mod">
        <pc:chgData name="Luis Argomedo" userId="84289e63-383a-488e-a09b-75dd559f2e49" providerId="ADAL" clId="{52D12791-53FE-495F-A5F2-C5A3E4036C64}" dt="2024-11-26T17:31:57.475" v="16" actId="20577"/>
        <pc:sldMkLst>
          <pc:docMk/>
          <pc:sldMk cId="3387786166" sldId="10660"/>
        </pc:sldMkLst>
        <pc:spChg chg="mod">
          <ac:chgData name="Luis Argomedo" userId="84289e63-383a-488e-a09b-75dd559f2e49" providerId="ADAL" clId="{52D12791-53FE-495F-A5F2-C5A3E4036C64}" dt="2024-11-26T17:31:57.475" v="16" actId="20577"/>
          <ac:spMkLst>
            <pc:docMk/>
            <pc:sldMk cId="3387786166" sldId="10660"/>
            <ac:spMk id="57" creationId="{B1EEBDD3-D756-97A0-D041-822C58D6F164}"/>
          </ac:spMkLst>
        </pc:spChg>
      </pc:sldChg>
      <pc:sldChg chg="modSp mod">
        <pc:chgData name="Luis Argomedo" userId="84289e63-383a-488e-a09b-75dd559f2e49" providerId="ADAL" clId="{52D12791-53FE-495F-A5F2-C5A3E4036C64}" dt="2024-11-26T17:44:05.224" v="148" actId="5793"/>
        <pc:sldMkLst>
          <pc:docMk/>
          <pc:sldMk cId="3866574542" sldId="2147476057"/>
        </pc:sldMkLst>
        <pc:spChg chg="mod">
          <ac:chgData name="Luis Argomedo" userId="84289e63-383a-488e-a09b-75dd559f2e49" providerId="ADAL" clId="{52D12791-53FE-495F-A5F2-C5A3E4036C64}" dt="2024-11-26T17:44:05.224" v="148" actId="5793"/>
          <ac:spMkLst>
            <pc:docMk/>
            <pc:sldMk cId="3866574542" sldId="2147476057"/>
            <ac:spMk id="5" creationId="{23C10E38-EC2E-1C0B-9103-F32DFE042B90}"/>
          </ac:spMkLst>
        </pc:spChg>
        <pc:spChg chg="mod">
          <ac:chgData name="Luis Argomedo" userId="84289e63-383a-488e-a09b-75dd559f2e49" providerId="ADAL" clId="{52D12791-53FE-495F-A5F2-C5A3E4036C64}" dt="2024-11-26T17:44:01.349" v="145" actId="20577"/>
          <ac:spMkLst>
            <pc:docMk/>
            <pc:sldMk cId="3866574542" sldId="2147476057"/>
            <ac:spMk id="6" creationId="{0DB28BD9-F709-1C85-6A92-4B5BF71B11B2}"/>
          </ac:spMkLst>
        </pc:spChg>
      </pc:sldChg>
      <pc:sldChg chg="del">
        <pc:chgData name="Luis Argomedo" userId="84289e63-383a-488e-a09b-75dd559f2e49" providerId="ADAL" clId="{52D12791-53FE-495F-A5F2-C5A3E4036C64}" dt="2024-11-26T17:44:46.728" v="149" actId="2696"/>
        <pc:sldMkLst>
          <pc:docMk/>
          <pc:sldMk cId="1907751771" sldId="2147476068"/>
        </pc:sldMkLst>
      </pc:sldChg>
      <pc:sldChg chg="modSp mod ord">
        <pc:chgData name="Luis Argomedo" userId="84289e63-383a-488e-a09b-75dd559f2e49" providerId="ADAL" clId="{52D12791-53FE-495F-A5F2-C5A3E4036C64}" dt="2024-11-26T17:43:30.812" v="143" actId="20577"/>
        <pc:sldMkLst>
          <pc:docMk/>
          <pc:sldMk cId="188356854" sldId="2147476133"/>
        </pc:sldMkLst>
        <pc:spChg chg="mod">
          <ac:chgData name="Luis Argomedo" userId="84289e63-383a-488e-a09b-75dd559f2e49" providerId="ADAL" clId="{52D12791-53FE-495F-A5F2-C5A3E4036C64}" dt="2024-11-26T17:43:02.694" v="108" actId="20577"/>
          <ac:spMkLst>
            <pc:docMk/>
            <pc:sldMk cId="188356854" sldId="2147476133"/>
            <ac:spMk id="3" creationId="{7020890B-CFD5-16DB-ADB4-7CC894F62B5D}"/>
          </ac:spMkLst>
        </pc:spChg>
        <pc:spChg chg="mod">
          <ac:chgData name="Luis Argomedo" userId="84289e63-383a-488e-a09b-75dd559f2e49" providerId="ADAL" clId="{52D12791-53FE-495F-A5F2-C5A3E4036C64}" dt="2024-11-26T17:41:51.490" v="45" actId="20577"/>
          <ac:spMkLst>
            <pc:docMk/>
            <pc:sldMk cId="188356854" sldId="2147476133"/>
            <ac:spMk id="12" creationId="{0CD04AB7-A4CC-9592-6802-A88DBB7C7AF0}"/>
          </ac:spMkLst>
        </pc:spChg>
        <pc:spChg chg="mod">
          <ac:chgData name="Luis Argomedo" userId="84289e63-383a-488e-a09b-75dd559f2e49" providerId="ADAL" clId="{52D12791-53FE-495F-A5F2-C5A3E4036C64}" dt="2024-11-26T17:42:44.193" v="88" actId="20577"/>
          <ac:spMkLst>
            <pc:docMk/>
            <pc:sldMk cId="188356854" sldId="2147476133"/>
            <ac:spMk id="15" creationId="{0CB5D80C-AC72-31C9-9853-473B01787471}"/>
          </ac:spMkLst>
        </pc:spChg>
        <pc:spChg chg="mod">
          <ac:chgData name="Luis Argomedo" userId="84289e63-383a-488e-a09b-75dd559f2e49" providerId="ADAL" clId="{52D12791-53FE-495F-A5F2-C5A3E4036C64}" dt="2024-11-26T17:42:25.132" v="84" actId="1076"/>
          <ac:spMkLst>
            <pc:docMk/>
            <pc:sldMk cId="188356854" sldId="2147476133"/>
            <ac:spMk id="21" creationId="{2869FB2F-3392-0A59-5643-3B2D71E8553C}"/>
          </ac:spMkLst>
        </pc:spChg>
        <pc:spChg chg="mod">
          <ac:chgData name="Luis Argomedo" userId="84289e63-383a-488e-a09b-75dd559f2e49" providerId="ADAL" clId="{52D12791-53FE-495F-A5F2-C5A3E4036C64}" dt="2024-11-26T17:42:28.248" v="85" actId="20577"/>
          <ac:spMkLst>
            <pc:docMk/>
            <pc:sldMk cId="188356854" sldId="2147476133"/>
            <ac:spMk id="22" creationId="{22BB633F-125A-F123-ADAD-22BB3BA54034}"/>
          </ac:spMkLst>
        </pc:spChg>
        <pc:spChg chg="mod">
          <ac:chgData name="Luis Argomedo" userId="84289e63-383a-488e-a09b-75dd559f2e49" providerId="ADAL" clId="{52D12791-53FE-495F-A5F2-C5A3E4036C64}" dt="2024-11-26T17:43:30.812" v="143" actId="20577"/>
          <ac:spMkLst>
            <pc:docMk/>
            <pc:sldMk cId="188356854" sldId="2147476133"/>
            <ac:spMk id="26" creationId="{BE151655-8A2D-86FF-B818-7050860F24B0}"/>
          </ac:spMkLst>
        </pc:spChg>
      </pc:sldChg>
      <pc:sldChg chg="modSp mod">
        <pc:chgData name="Luis Argomedo" userId="84289e63-383a-488e-a09b-75dd559f2e49" providerId="ADAL" clId="{52D12791-53FE-495F-A5F2-C5A3E4036C64}" dt="2024-11-26T17:47:23.380" v="314" actId="20577"/>
        <pc:sldMkLst>
          <pc:docMk/>
          <pc:sldMk cId="468561840" sldId="2147476138"/>
        </pc:sldMkLst>
        <pc:spChg chg="mod">
          <ac:chgData name="Luis Argomedo" userId="84289e63-383a-488e-a09b-75dd559f2e49" providerId="ADAL" clId="{52D12791-53FE-495F-A5F2-C5A3E4036C64}" dt="2024-11-26T17:47:23.380" v="314" actId="20577"/>
          <ac:spMkLst>
            <pc:docMk/>
            <pc:sldMk cId="468561840" sldId="2147476138"/>
            <ac:spMk id="37" creationId="{BD44B9E3-D8B4-B587-B65B-4C1A259E8931}"/>
          </ac:spMkLst>
        </pc:spChg>
      </pc:sldChg>
      <pc:sldChg chg="delSp modSp mod">
        <pc:chgData name="Luis Argomedo" userId="84289e63-383a-488e-a09b-75dd559f2e49" providerId="ADAL" clId="{52D12791-53FE-495F-A5F2-C5A3E4036C64}" dt="2024-11-26T17:45:55.541" v="165" actId="1076"/>
        <pc:sldMkLst>
          <pc:docMk/>
          <pc:sldMk cId="2798752333" sldId="2147476140"/>
        </pc:sldMkLst>
        <pc:spChg chg="mod">
          <ac:chgData name="Luis Argomedo" userId="84289e63-383a-488e-a09b-75dd559f2e49" providerId="ADAL" clId="{52D12791-53FE-495F-A5F2-C5A3E4036C64}" dt="2024-11-26T17:45:55.541" v="165" actId="1076"/>
          <ac:spMkLst>
            <pc:docMk/>
            <pc:sldMk cId="2798752333" sldId="2147476140"/>
            <ac:spMk id="2" creationId="{9132AEE1-0040-0A2B-B2B2-24CE372375ED}"/>
          </ac:spMkLst>
        </pc:spChg>
        <pc:spChg chg="del mod">
          <ac:chgData name="Luis Argomedo" userId="84289e63-383a-488e-a09b-75dd559f2e49" providerId="ADAL" clId="{52D12791-53FE-495F-A5F2-C5A3E4036C64}" dt="2024-11-26T17:45:28.933" v="157" actId="478"/>
          <ac:spMkLst>
            <pc:docMk/>
            <pc:sldMk cId="2798752333" sldId="2147476140"/>
            <ac:spMk id="4" creationId="{2B7B90E7-C0DC-1848-89E1-31BAF8F8383D}"/>
          </ac:spMkLst>
        </pc:spChg>
        <pc:spChg chg="del">
          <ac:chgData name="Luis Argomedo" userId="84289e63-383a-488e-a09b-75dd559f2e49" providerId="ADAL" clId="{52D12791-53FE-495F-A5F2-C5A3E4036C64}" dt="2024-11-26T17:45:29.945" v="158" actId="478"/>
          <ac:spMkLst>
            <pc:docMk/>
            <pc:sldMk cId="2798752333" sldId="2147476140"/>
            <ac:spMk id="5" creationId="{DF72085B-DA0C-BA51-744B-A249FB3B1D97}"/>
          </ac:spMkLst>
        </pc:spChg>
        <pc:spChg chg="mod">
          <ac:chgData name="Luis Argomedo" userId="84289e63-383a-488e-a09b-75dd559f2e49" providerId="ADAL" clId="{52D12791-53FE-495F-A5F2-C5A3E4036C64}" dt="2024-11-26T17:45:48.810" v="164" actId="1076"/>
          <ac:spMkLst>
            <pc:docMk/>
            <pc:sldMk cId="2798752333" sldId="2147476140"/>
            <ac:spMk id="6" creationId="{71C62C23-FD3A-9D6C-4CBE-4126D67116BD}"/>
          </ac:spMkLst>
        </pc:spChg>
        <pc:spChg chg="mod">
          <ac:chgData name="Luis Argomedo" userId="84289e63-383a-488e-a09b-75dd559f2e49" providerId="ADAL" clId="{52D12791-53FE-495F-A5F2-C5A3E4036C64}" dt="2024-11-26T17:45:41.494" v="161" actId="1076"/>
          <ac:spMkLst>
            <pc:docMk/>
            <pc:sldMk cId="2798752333" sldId="2147476140"/>
            <ac:spMk id="10" creationId="{F39047E4-42F7-708B-0445-7129DE20A645}"/>
          </ac:spMkLst>
        </pc:spChg>
        <pc:spChg chg="mod">
          <ac:chgData name="Luis Argomedo" userId="84289e63-383a-488e-a09b-75dd559f2e49" providerId="ADAL" clId="{52D12791-53FE-495F-A5F2-C5A3E4036C64}" dt="2024-11-26T17:45:03.122" v="150" actId="20577"/>
          <ac:spMkLst>
            <pc:docMk/>
            <pc:sldMk cId="2798752333" sldId="2147476140"/>
            <ac:spMk id="1030" creationId="{83D740CC-5BF5-BE28-6D67-137A5B8B48C8}"/>
          </ac:spMkLst>
        </pc:spChg>
        <pc:grpChg chg="mod">
          <ac:chgData name="Luis Argomedo" userId="84289e63-383a-488e-a09b-75dd559f2e49" providerId="ADAL" clId="{52D12791-53FE-495F-A5F2-C5A3E4036C64}" dt="2024-11-26T17:45:44.641" v="162" actId="1076"/>
          <ac:grpSpMkLst>
            <pc:docMk/>
            <pc:sldMk cId="2798752333" sldId="2147476140"/>
            <ac:grpSpMk id="11" creationId="{4EB65678-9F54-2161-DC74-F2692D0388F1}"/>
          </ac:grpSpMkLst>
        </pc:grpChg>
        <pc:grpChg chg="mod">
          <ac:chgData name="Luis Argomedo" userId="84289e63-383a-488e-a09b-75dd559f2e49" providerId="ADAL" clId="{52D12791-53FE-495F-A5F2-C5A3E4036C64}" dt="2024-11-26T17:45:37.562" v="160" actId="1076"/>
          <ac:grpSpMkLst>
            <pc:docMk/>
            <pc:sldMk cId="2798752333" sldId="2147476140"/>
            <ac:grpSpMk id="21" creationId="{00215BBA-D31C-5DC1-C832-3C76338F6316}"/>
          </ac:grpSpMkLst>
        </pc:grpChg>
      </pc:sldChg>
      <pc:sldChg chg="modSp mod">
        <pc:chgData name="Luis Argomedo" userId="84289e63-383a-488e-a09b-75dd559f2e49" providerId="ADAL" clId="{52D12791-53FE-495F-A5F2-C5A3E4036C64}" dt="2024-11-26T17:43:55.040" v="144" actId="20577"/>
        <pc:sldMkLst>
          <pc:docMk/>
          <pc:sldMk cId="580424184" sldId="2147476143"/>
        </pc:sldMkLst>
        <pc:spChg chg="mod">
          <ac:chgData name="Luis Argomedo" userId="84289e63-383a-488e-a09b-75dd559f2e49" providerId="ADAL" clId="{52D12791-53FE-495F-A5F2-C5A3E4036C64}" dt="2024-11-26T17:43:55.040" v="144" actId="20577"/>
          <ac:spMkLst>
            <pc:docMk/>
            <pc:sldMk cId="580424184" sldId="2147476143"/>
            <ac:spMk id="6" creationId="{80ED5C4E-BAC4-287C-23DC-CD45ABA36B05}"/>
          </ac:spMkLst>
        </pc:spChg>
      </pc:sldChg>
      <pc:sldChg chg="del">
        <pc:chgData name="Luis Argomedo" userId="84289e63-383a-488e-a09b-75dd559f2e49" providerId="ADAL" clId="{52D12791-53FE-495F-A5F2-C5A3E4036C64}" dt="2024-11-26T17:47:33.849" v="315" actId="2696"/>
        <pc:sldMkLst>
          <pc:docMk/>
          <pc:sldMk cId="1762738144" sldId="2147476181"/>
        </pc:sldMkLst>
      </pc:sldChg>
      <pc:sldMasterChg chg="delSldLayout">
        <pc:chgData name="Luis Argomedo" userId="84289e63-383a-488e-a09b-75dd559f2e49" providerId="ADAL" clId="{52D12791-53FE-495F-A5F2-C5A3E4036C64}" dt="2024-11-26T17:44:46.728" v="149" actId="2696"/>
        <pc:sldMasterMkLst>
          <pc:docMk/>
          <pc:sldMasterMk cId="4231055424" sldId="2147484002"/>
        </pc:sldMasterMkLst>
        <pc:sldLayoutChg chg="del">
          <pc:chgData name="Luis Argomedo" userId="84289e63-383a-488e-a09b-75dd559f2e49" providerId="ADAL" clId="{52D12791-53FE-495F-A5F2-C5A3E4036C64}" dt="2024-11-26T17:44:46.728" v="149" actId="2696"/>
          <pc:sldLayoutMkLst>
            <pc:docMk/>
            <pc:sldMasterMk cId="4231055424" sldId="2147484002"/>
            <pc:sldLayoutMk cId="3669365487" sldId="2147484060"/>
          </pc:sldLayoutMkLst>
        </pc:sldLayoutChg>
      </pc:sldMasterChg>
    </pc:docChg>
  </pc:docChgLst>
  <pc:docChgLst>
    <pc:chgData name="Jesus Aular" userId="640cfff3-3c1f-4741-a027-6eb8463950a8" providerId="ADAL" clId="{FCE2A3F7-5307-43B4-B7E4-DDCFCE959FF8}"/>
    <pc:docChg chg="custSel addSld delSld modSld sldOrd delMainMaster">
      <pc:chgData name="Jesus Aular" userId="640cfff3-3c1f-4741-a027-6eb8463950a8" providerId="ADAL" clId="{FCE2A3F7-5307-43B4-B7E4-DDCFCE959FF8}" dt="2024-11-27T12:50:42.866" v="207" actId="1076"/>
      <pc:docMkLst>
        <pc:docMk/>
      </pc:docMkLst>
      <pc:sldChg chg="addSp delSp modSp add mod modClrScheme chgLayout">
        <pc:chgData name="Jesus Aular" userId="640cfff3-3c1f-4741-a027-6eb8463950a8" providerId="ADAL" clId="{FCE2A3F7-5307-43B4-B7E4-DDCFCE959FF8}" dt="2024-11-27T12:37:14.246" v="26" actId="14100"/>
        <pc:sldMkLst>
          <pc:docMk/>
          <pc:sldMk cId="0" sldId="258"/>
        </pc:sldMkLst>
        <pc:spChg chg="add mod ord">
          <ac:chgData name="Jesus Aular" userId="640cfff3-3c1f-4741-a027-6eb8463950a8" providerId="ADAL" clId="{FCE2A3F7-5307-43B4-B7E4-DDCFCE959FF8}" dt="2024-11-27T11:45:00.417" v="1" actId="700"/>
          <ac:spMkLst>
            <pc:docMk/>
            <pc:sldMk cId="0" sldId="258"/>
            <ac:spMk id="2" creationId="{39B36CC3-FB91-32E1-BDCD-BED7F14A8B60}"/>
          </ac:spMkLst>
        </pc:spChg>
        <pc:spChg chg="del">
          <ac:chgData name="Jesus Aular" userId="640cfff3-3c1f-4741-a027-6eb8463950a8" providerId="ADAL" clId="{FCE2A3F7-5307-43B4-B7E4-DDCFCE959FF8}" dt="2024-11-27T12:37:07.380" v="24" actId="478"/>
          <ac:spMkLst>
            <pc:docMk/>
            <pc:sldMk cId="0" sldId="258"/>
            <ac:spMk id="5" creationId="{C425BA0B-571D-A68E-5258-460288DB5FB0}"/>
          </ac:spMkLst>
        </pc:spChg>
        <pc:picChg chg="mod">
          <ac:chgData name="Jesus Aular" userId="640cfff3-3c1f-4741-a027-6eb8463950a8" providerId="ADAL" clId="{FCE2A3F7-5307-43B4-B7E4-DDCFCE959FF8}" dt="2024-11-27T12:37:14.246" v="26" actId="14100"/>
          <ac:picMkLst>
            <pc:docMk/>
            <pc:sldMk cId="0" sldId="258"/>
            <ac:picMk id="4" creationId="{EA5BEA6A-892D-AE5A-D50C-E47E0544C291}"/>
          </ac:picMkLst>
        </pc:picChg>
      </pc:sldChg>
      <pc:sldChg chg="addSp modSp add del mod modClrScheme chgLayout">
        <pc:chgData name="Jesus Aular" userId="640cfff3-3c1f-4741-a027-6eb8463950a8" providerId="ADAL" clId="{FCE2A3F7-5307-43B4-B7E4-DDCFCE959FF8}" dt="2024-11-27T12:32:36.061" v="4" actId="47"/>
        <pc:sldMkLst>
          <pc:docMk/>
          <pc:sldMk cId="0" sldId="259"/>
        </pc:sldMkLst>
        <pc:spChg chg="add mod ord">
          <ac:chgData name="Jesus Aular" userId="640cfff3-3c1f-4741-a027-6eb8463950a8" providerId="ADAL" clId="{FCE2A3F7-5307-43B4-B7E4-DDCFCE959FF8}" dt="2024-11-27T11:45:00.417" v="1" actId="700"/>
          <ac:spMkLst>
            <pc:docMk/>
            <pc:sldMk cId="0" sldId="259"/>
            <ac:spMk id="2" creationId="{803C954F-AFA2-8BCF-9784-6C9D98D6293E}"/>
          </ac:spMkLst>
        </pc:spChg>
      </pc:sldChg>
      <pc:sldChg chg="addSp delSp modSp add mod modClrScheme chgLayout">
        <pc:chgData name="Jesus Aular" userId="640cfff3-3c1f-4741-a027-6eb8463950a8" providerId="ADAL" clId="{FCE2A3F7-5307-43B4-B7E4-DDCFCE959FF8}" dt="2024-11-27T12:50:03.756" v="202" actId="14100"/>
        <pc:sldMkLst>
          <pc:docMk/>
          <pc:sldMk cId="0" sldId="264"/>
        </pc:sldMkLst>
        <pc:spChg chg="add del mod ord">
          <ac:chgData name="Jesus Aular" userId="640cfff3-3c1f-4741-a027-6eb8463950a8" providerId="ADAL" clId="{FCE2A3F7-5307-43B4-B7E4-DDCFCE959FF8}" dt="2024-11-27T12:37:20.590" v="27" actId="478"/>
          <ac:spMkLst>
            <pc:docMk/>
            <pc:sldMk cId="0" sldId="264"/>
            <ac:spMk id="2" creationId="{2183C27D-7D31-CCBA-39F0-5F43C2858BA6}"/>
          </ac:spMkLst>
        </pc:spChg>
        <pc:spChg chg="del">
          <ac:chgData name="Jesus Aular" userId="640cfff3-3c1f-4741-a027-6eb8463950a8" providerId="ADAL" clId="{FCE2A3F7-5307-43B4-B7E4-DDCFCE959FF8}" dt="2024-11-27T12:37:22.081" v="28" actId="478"/>
          <ac:spMkLst>
            <pc:docMk/>
            <pc:sldMk cId="0" sldId="264"/>
            <ac:spMk id="7" creationId="{B04E28B0-8AC0-4656-A7EE-90F1D83C8FC1}"/>
          </ac:spMkLst>
        </pc:spChg>
        <pc:picChg chg="mod">
          <ac:chgData name="Jesus Aular" userId="640cfff3-3c1f-4741-a027-6eb8463950a8" providerId="ADAL" clId="{FCE2A3F7-5307-43B4-B7E4-DDCFCE959FF8}" dt="2024-11-27T12:50:03.756" v="202" actId="14100"/>
          <ac:picMkLst>
            <pc:docMk/>
            <pc:sldMk cId="0" sldId="264"/>
            <ac:picMk id="3" creationId="{5ED30EDA-AD00-5555-89D5-87021241F107}"/>
          </ac:picMkLst>
        </pc:picChg>
      </pc:sldChg>
      <pc:sldChg chg="addSp delSp modSp mod ord modClrScheme chgLayout">
        <pc:chgData name="Jesus Aular" userId="640cfff3-3c1f-4741-a027-6eb8463950a8" providerId="ADAL" clId="{FCE2A3F7-5307-43B4-B7E4-DDCFCE959FF8}" dt="2024-11-27T12:49:12.972" v="191"/>
        <pc:sldMkLst>
          <pc:docMk/>
          <pc:sldMk cId="0" sldId="272"/>
        </pc:sldMkLst>
        <pc:spChg chg="del">
          <ac:chgData name="Jesus Aular" userId="640cfff3-3c1f-4741-a027-6eb8463950a8" providerId="ADAL" clId="{FCE2A3F7-5307-43B4-B7E4-DDCFCE959FF8}" dt="2024-11-27T12:36:45.428" v="21" actId="478"/>
          <ac:spMkLst>
            <pc:docMk/>
            <pc:sldMk cId="0" sldId="272"/>
            <ac:spMk id="2" creationId="{C9B8A856-FAD2-70E7-E709-83E88F831088}"/>
          </ac:spMkLst>
        </pc:spChg>
        <pc:spChg chg="del">
          <ac:chgData name="Jesus Aular" userId="640cfff3-3c1f-4741-a027-6eb8463950a8" providerId="ADAL" clId="{FCE2A3F7-5307-43B4-B7E4-DDCFCE959FF8}" dt="2024-11-27T12:36:48.312" v="22" actId="478"/>
          <ac:spMkLst>
            <pc:docMk/>
            <pc:sldMk cId="0" sldId="272"/>
            <ac:spMk id="3" creationId="{2501DCF0-89ED-6627-A1CD-DA5D813E0944}"/>
          </ac:spMkLst>
        </pc:spChg>
        <pc:spChg chg="add del mod ord">
          <ac:chgData name="Jesus Aular" userId="640cfff3-3c1f-4741-a027-6eb8463950a8" providerId="ADAL" clId="{FCE2A3F7-5307-43B4-B7E4-DDCFCE959FF8}" dt="2024-11-27T12:36:43.864" v="20" actId="478"/>
          <ac:spMkLst>
            <pc:docMk/>
            <pc:sldMk cId="0" sldId="272"/>
            <ac:spMk id="4" creationId="{CBC96F09-6011-4428-E445-D068F92BB5D5}"/>
          </ac:spMkLst>
        </pc:spChg>
      </pc:sldChg>
      <pc:sldChg chg="addSp modSp del mod modClrScheme chgLayout">
        <pc:chgData name="Jesus Aular" userId="640cfff3-3c1f-4741-a027-6eb8463950a8" providerId="ADAL" clId="{FCE2A3F7-5307-43B4-B7E4-DDCFCE959FF8}" dt="2024-11-27T12:37:34.247" v="29" actId="47"/>
        <pc:sldMkLst>
          <pc:docMk/>
          <pc:sldMk cId="805612924" sldId="301"/>
        </pc:sldMkLst>
        <pc:spChg chg="add mod ord">
          <ac:chgData name="Jesus Aular" userId="640cfff3-3c1f-4741-a027-6eb8463950a8" providerId="ADAL" clId="{FCE2A3F7-5307-43B4-B7E4-DDCFCE959FF8}" dt="2024-11-27T12:34:25.849" v="5" actId="700"/>
          <ac:spMkLst>
            <pc:docMk/>
            <pc:sldMk cId="805612924" sldId="301"/>
            <ac:spMk id="3" creationId="{D0F3A972-CD17-76A2-01D6-837997377DC8}"/>
          </ac:spMkLst>
        </pc:spChg>
      </pc:sldChg>
      <pc:sldChg chg="addSp modSp add del mod modClrScheme chgLayout">
        <pc:chgData name="Jesus Aular" userId="640cfff3-3c1f-4741-a027-6eb8463950a8" providerId="ADAL" clId="{FCE2A3F7-5307-43B4-B7E4-DDCFCE959FF8}" dt="2024-11-27T12:32:34.509" v="3" actId="47"/>
        <pc:sldMkLst>
          <pc:docMk/>
          <pc:sldMk cId="3901440081" sldId="308"/>
        </pc:sldMkLst>
        <pc:spChg chg="add mod ord">
          <ac:chgData name="Jesus Aular" userId="640cfff3-3c1f-4741-a027-6eb8463950a8" providerId="ADAL" clId="{FCE2A3F7-5307-43B4-B7E4-DDCFCE959FF8}" dt="2024-11-27T11:45:00.417" v="1" actId="700"/>
          <ac:spMkLst>
            <pc:docMk/>
            <pc:sldMk cId="3901440081" sldId="308"/>
            <ac:spMk id="2" creationId="{5104453E-99BA-2E68-13A7-1B437DC63B50}"/>
          </ac:spMkLst>
        </pc:spChg>
      </pc:sldChg>
      <pc:sldChg chg="addSp modSp del mod modClrScheme chgLayout">
        <pc:chgData name="Jesus Aular" userId="640cfff3-3c1f-4741-a027-6eb8463950a8" providerId="ADAL" clId="{FCE2A3F7-5307-43B4-B7E4-DDCFCE959FF8}" dt="2024-11-27T12:37:35.670" v="30" actId="47"/>
        <pc:sldMkLst>
          <pc:docMk/>
          <pc:sldMk cId="2976902188" sldId="315"/>
        </pc:sldMkLst>
        <pc:spChg chg="add mod ord">
          <ac:chgData name="Jesus Aular" userId="640cfff3-3c1f-4741-a027-6eb8463950a8" providerId="ADAL" clId="{FCE2A3F7-5307-43B4-B7E4-DDCFCE959FF8}" dt="2024-11-27T12:34:25.849" v="5" actId="700"/>
          <ac:spMkLst>
            <pc:docMk/>
            <pc:sldMk cId="2976902188" sldId="315"/>
            <ac:spMk id="5" creationId="{9FA44B2B-9744-8919-4BF6-6F58D14BC0A8}"/>
          </ac:spMkLst>
        </pc:spChg>
      </pc:sldChg>
      <pc:sldChg chg="addSp modSp add mod modClrScheme chgLayout">
        <pc:chgData name="Jesus Aular" userId="640cfff3-3c1f-4741-a027-6eb8463950a8" providerId="ADAL" clId="{FCE2A3F7-5307-43B4-B7E4-DDCFCE959FF8}" dt="2024-11-27T12:41:30.187" v="106" actId="20577"/>
        <pc:sldMkLst>
          <pc:docMk/>
          <pc:sldMk cId="2298492131" sldId="327"/>
        </pc:sldMkLst>
        <pc:spChg chg="add mod ord">
          <ac:chgData name="Jesus Aular" userId="640cfff3-3c1f-4741-a027-6eb8463950a8" providerId="ADAL" clId="{FCE2A3F7-5307-43B4-B7E4-DDCFCE959FF8}" dt="2024-11-27T12:41:27.953" v="105" actId="1076"/>
          <ac:spMkLst>
            <pc:docMk/>
            <pc:sldMk cId="2298492131" sldId="327"/>
            <ac:spMk id="2" creationId="{90702D4C-D58B-6BE2-04E2-F58E6AC6920B}"/>
          </ac:spMkLst>
        </pc:spChg>
        <pc:spChg chg="mod">
          <ac:chgData name="Jesus Aular" userId="640cfff3-3c1f-4741-a027-6eb8463950a8" providerId="ADAL" clId="{FCE2A3F7-5307-43B4-B7E4-DDCFCE959FF8}" dt="2024-11-27T12:41:30.187" v="106" actId="20577"/>
          <ac:spMkLst>
            <pc:docMk/>
            <pc:sldMk cId="2298492131" sldId="327"/>
            <ac:spMk id="7" creationId="{FC2A9AF8-7F5A-674E-6BD8-BD0C77034FD9}"/>
          </ac:spMkLst>
        </pc:spChg>
      </pc:sldChg>
      <pc:sldChg chg="addSp delSp modSp add mod modClrScheme chgLayout">
        <pc:chgData name="Jesus Aular" userId="640cfff3-3c1f-4741-a027-6eb8463950a8" providerId="ADAL" clId="{FCE2A3F7-5307-43B4-B7E4-DDCFCE959FF8}" dt="2024-11-27T12:41:52.171" v="111" actId="478"/>
        <pc:sldMkLst>
          <pc:docMk/>
          <pc:sldMk cId="1358815705" sldId="328"/>
        </pc:sldMkLst>
        <pc:spChg chg="add mod ord">
          <ac:chgData name="Jesus Aular" userId="640cfff3-3c1f-4741-a027-6eb8463950a8" providerId="ADAL" clId="{FCE2A3F7-5307-43B4-B7E4-DDCFCE959FF8}" dt="2024-11-27T12:41:51.030" v="110" actId="20577"/>
          <ac:spMkLst>
            <pc:docMk/>
            <pc:sldMk cId="1358815705" sldId="328"/>
            <ac:spMk id="2" creationId="{CC9DDE45-A186-DA37-D890-359EAE28BDBB}"/>
          </ac:spMkLst>
        </pc:spChg>
        <pc:spChg chg="del mod">
          <ac:chgData name="Jesus Aular" userId="640cfff3-3c1f-4741-a027-6eb8463950a8" providerId="ADAL" clId="{FCE2A3F7-5307-43B4-B7E4-DDCFCE959FF8}" dt="2024-11-27T12:41:52.171" v="111" actId="478"/>
          <ac:spMkLst>
            <pc:docMk/>
            <pc:sldMk cId="1358815705" sldId="328"/>
            <ac:spMk id="7" creationId="{874318EA-2C6F-9090-4F7C-006E2EEE4BD8}"/>
          </ac:spMkLst>
        </pc:spChg>
      </pc:sldChg>
      <pc:sldChg chg="addSp delSp modSp add mod modClrScheme chgLayout">
        <pc:chgData name="Jesus Aular" userId="640cfff3-3c1f-4741-a027-6eb8463950a8" providerId="ADAL" clId="{FCE2A3F7-5307-43B4-B7E4-DDCFCE959FF8}" dt="2024-11-27T12:42:02.992" v="114" actId="478"/>
        <pc:sldMkLst>
          <pc:docMk/>
          <pc:sldMk cId="1852525744" sldId="372"/>
        </pc:sldMkLst>
        <pc:spChg chg="add mod ord">
          <ac:chgData name="Jesus Aular" userId="640cfff3-3c1f-4741-a027-6eb8463950a8" providerId="ADAL" clId="{FCE2A3F7-5307-43B4-B7E4-DDCFCE959FF8}" dt="2024-11-27T12:41:58.731" v="113"/>
          <ac:spMkLst>
            <pc:docMk/>
            <pc:sldMk cId="1852525744" sldId="372"/>
            <ac:spMk id="2" creationId="{2641AB72-B4C4-24CD-7925-8ADCE6410B12}"/>
          </ac:spMkLst>
        </pc:spChg>
        <pc:spChg chg="del mod">
          <ac:chgData name="Jesus Aular" userId="640cfff3-3c1f-4741-a027-6eb8463950a8" providerId="ADAL" clId="{FCE2A3F7-5307-43B4-B7E4-DDCFCE959FF8}" dt="2024-11-27T12:42:02.992" v="114" actId="478"/>
          <ac:spMkLst>
            <pc:docMk/>
            <pc:sldMk cId="1852525744" sldId="372"/>
            <ac:spMk id="7" creationId="{EA4754FC-5E1D-3414-C6C1-4F790D4FA176}"/>
          </ac:spMkLst>
        </pc:spChg>
      </pc:sldChg>
      <pc:sldChg chg="modSp mod">
        <pc:chgData name="Jesus Aular" userId="640cfff3-3c1f-4741-a027-6eb8463950a8" providerId="ADAL" clId="{FCE2A3F7-5307-43B4-B7E4-DDCFCE959FF8}" dt="2024-11-27T12:49:56.115" v="200" actId="1076"/>
        <pc:sldMkLst>
          <pc:docMk/>
          <pc:sldMk cId="1140366459" sldId="2147476104"/>
        </pc:sldMkLst>
        <pc:spChg chg="mod">
          <ac:chgData name="Jesus Aular" userId="640cfff3-3c1f-4741-a027-6eb8463950a8" providerId="ADAL" clId="{FCE2A3F7-5307-43B4-B7E4-DDCFCE959FF8}" dt="2024-11-27T12:49:44.182" v="197" actId="20577"/>
          <ac:spMkLst>
            <pc:docMk/>
            <pc:sldMk cId="1140366459" sldId="2147476104"/>
            <ac:spMk id="6" creationId="{8D2E38A6-252D-D0BB-F916-7AA753E73EDB}"/>
          </ac:spMkLst>
        </pc:spChg>
        <pc:graphicFrameChg chg="mod modGraphic">
          <ac:chgData name="Jesus Aular" userId="640cfff3-3c1f-4741-a027-6eb8463950a8" providerId="ADAL" clId="{FCE2A3F7-5307-43B4-B7E4-DDCFCE959FF8}" dt="2024-11-27T12:49:56.115" v="200" actId="1076"/>
          <ac:graphicFrameMkLst>
            <pc:docMk/>
            <pc:sldMk cId="1140366459" sldId="2147476104"/>
            <ac:graphicFrameMk id="51" creationId="{9AE9485A-0DF9-30A3-AA01-4B9F2CDE8623}"/>
          </ac:graphicFrameMkLst>
        </pc:graphicFrameChg>
        <pc:picChg chg="mod">
          <ac:chgData name="Jesus Aular" userId="640cfff3-3c1f-4741-a027-6eb8463950a8" providerId="ADAL" clId="{FCE2A3F7-5307-43B4-B7E4-DDCFCE959FF8}" dt="2024-11-27T12:49:52.947" v="199" actId="1076"/>
          <ac:picMkLst>
            <pc:docMk/>
            <pc:sldMk cId="1140366459" sldId="2147476104"/>
            <ac:picMk id="7" creationId="{B09D0B65-1729-327D-D45B-A9BF7BC6B8C7}"/>
          </ac:picMkLst>
        </pc:picChg>
        <pc:picChg chg="mod">
          <ac:chgData name="Jesus Aular" userId="640cfff3-3c1f-4741-a027-6eb8463950a8" providerId="ADAL" clId="{FCE2A3F7-5307-43B4-B7E4-DDCFCE959FF8}" dt="2024-11-27T12:49:52.947" v="199" actId="1076"/>
          <ac:picMkLst>
            <pc:docMk/>
            <pc:sldMk cId="1140366459" sldId="2147476104"/>
            <ac:picMk id="22" creationId="{CA38EC17-1D40-2B1F-CB4B-9DDCE4A64A4F}"/>
          </ac:picMkLst>
        </pc:picChg>
        <pc:picChg chg="mod">
          <ac:chgData name="Jesus Aular" userId="640cfff3-3c1f-4741-a027-6eb8463950a8" providerId="ADAL" clId="{FCE2A3F7-5307-43B4-B7E4-DDCFCE959FF8}" dt="2024-11-27T12:49:52.947" v="199" actId="1076"/>
          <ac:picMkLst>
            <pc:docMk/>
            <pc:sldMk cId="1140366459" sldId="2147476104"/>
            <ac:picMk id="23" creationId="{892BC6EC-EDEA-994B-0E84-32BE7B744AC6}"/>
          </ac:picMkLst>
        </pc:picChg>
      </pc:sldChg>
      <pc:sldChg chg="mod modShow">
        <pc:chgData name="Jesus Aular" userId="640cfff3-3c1f-4741-a027-6eb8463950a8" providerId="ADAL" clId="{FCE2A3F7-5307-43B4-B7E4-DDCFCE959FF8}" dt="2024-11-27T12:38:22.715" v="31" actId="729"/>
        <pc:sldMkLst>
          <pc:docMk/>
          <pc:sldMk cId="3299957700" sldId="2147476105"/>
        </pc:sldMkLst>
      </pc:sldChg>
      <pc:sldChg chg="modSp mod">
        <pc:chgData name="Jesus Aular" userId="640cfff3-3c1f-4741-a027-6eb8463950a8" providerId="ADAL" clId="{FCE2A3F7-5307-43B4-B7E4-DDCFCE959FF8}" dt="2024-11-27T12:49:23.447" v="193" actId="1076"/>
        <pc:sldMkLst>
          <pc:docMk/>
          <pc:sldMk cId="2769089447" sldId="2147476106"/>
        </pc:sldMkLst>
        <pc:spChg chg="mod">
          <ac:chgData name="Jesus Aular" userId="640cfff3-3c1f-4741-a027-6eb8463950a8" providerId="ADAL" clId="{FCE2A3F7-5307-43B4-B7E4-DDCFCE959FF8}" dt="2024-11-27T12:48:56.167" v="187" actId="20577"/>
          <ac:spMkLst>
            <pc:docMk/>
            <pc:sldMk cId="2769089447" sldId="2147476106"/>
            <ac:spMk id="4" creationId="{B9744BBC-5667-4877-A9BC-D6A27FC4DB91}"/>
          </ac:spMkLst>
        </pc:spChg>
        <pc:graphicFrameChg chg="mod modGraphic">
          <ac:chgData name="Jesus Aular" userId="640cfff3-3c1f-4741-a027-6eb8463950a8" providerId="ADAL" clId="{FCE2A3F7-5307-43B4-B7E4-DDCFCE959FF8}" dt="2024-11-27T12:49:23.447" v="193" actId="1076"/>
          <ac:graphicFrameMkLst>
            <pc:docMk/>
            <pc:sldMk cId="2769089447" sldId="2147476106"/>
            <ac:graphicFrameMk id="54" creationId="{0CD3102B-2ACF-EE64-6081-31ABE62D29AE}"/>
          </ac:graphicFrameMkLst>
        </pc:graphicFrameChg>
        <pc:picChg chg="mod">
          <ac:chgData name="Jesus Aular" userId="640cfff3-3c1f-4741-a027-6eb8463950a8" providerId="ADAL" clId="{FCE2A3F7-5307-43B4-B7E4-DDCFCE959FF8}" dt="2024-11-27T12:49:20.404" v="192" actId="1076"/>
          <ac:picMkLst>
            <pc:docMk/>
            <pc:sldMk cId="2769089447" sldId="2147476106"/>
            <ac:picMk id="23" creationId="{CC51367C-504B-B8FB-761C-720947600374}"/>
          </ac:picMkLst>
        </pc:picChg>
        <pc:picChg chg="mod">
          <ac:chgData name="Jesus Aular" userId="640cfff3-3c1f-4741-a027-6eb8463950a8" providerId="ADAL" clId="{FCE2A3F7-5307-43B4-B7E4-DDCFCE959FF8}" dt="2024-11-27T12:49:20.404" v="192" actId="1076"/>
          <ac:picMkLst>
            <pc:docMk/>
            <pc:sldMk cId="2769089447" sldId="2147476106"/>
            <ac:picMk id="27" creationId="{2D181B0C-8ACC-A587-C059-5ACDA759AD4D}"/>
          </ac:picMkLst>
        </pc:picChg>
        <pc:picChg chg="mod">
          <ac:chgData name="Jesus Aular" userId="640cfff3-3c1f-4741-a027-6eb8463950a8" providerId="ADAL" clId="{FCE2A3F7-5307-43B4-B7E4-DDCFCE959FF8}" dt="2024-11-27T12:49:20.404" v="192" actId="1076"/>
          <ac:picMkLst>
            <pc:docMk/>
            <pc:sldMk cId="2769089447" sldId="2147476106"/>
            <ac:picMk id="30" creationId="{6B551D3B-338E-97D8-7EBE-5C5DCC699349}"/>
          </ac:picMkLst>
        </pc:picChg>
      </pc:sldChg>
      <pc:sldChg chg="delSp modSp mod">
        <pc:chgData name="Jesus Aular" userId="640cfff3-3c1f-4741-a027-6eb8463950a8" providerId="ADAL" clId="{FCE2A3F7-5307-43B4-B7E4-DDCFCE959FF8}" dt="2024-11-27T12:44:16.435" v="154" actId="20577"/>
        <pc:sldMkLst>
          <pc:docMk/>
          <pc:sldMk cId="188356854" sldId="2147476133"/>
        </pc:sldMkLst>
        <pc:spChg chg="mod">
          <ac:chgData name="Jesus Aular" userId="640cfff3-3c1f-4741-a027-6eb8463950a8" providerId="ADAL" clId="{FCE2A3F7-5307-43B4-B7E4-DDCFCE959FF8}" dt="2024-11-27T12:43:47.730" v="144" actId="20577"/>
          <ac:spMkLst>
            <pc:docMk/>
            <pc:sldMk cId="188356854" sldId="2147476133"/>
            <ac:spMk id="11" creationId="{A0731DC2-9074-8499-3663-B1E3B67553CF}"/>
          </ac:spMkLst>
        </pc:spChg>
        <pc:spChg chg="mod">
          <ac:chgData name="Jesus Aular" userId="640cfff3-3c1f-4741-a027-6eb8463950a8" providerId="ADAL" clId="{FCE2A3F7-5307-43B4-B7E4-DDCFCE959FF8}" dt="2024-11-27T12:44:16.435" v="154" actId="20577"/>
          <ac:spMkLst>
            <pc:docMk/>
            <pc:sldMk cId="188356854" sldId="2147476133"/>
            <ac:spMk id="15" creationId="{0CB5D80C-AC72-31C9-9853-473B01787471}"/>
          </ac:spMkLst>
        </pc:spChg>
        <pc:spChg chg="del">
          <ac:chgData name="Jesus Aular" userId="640cfff3-3c1f-4741-a027-6eb8463950a8" providerId="ADAL" clId="{FCE2A3F7-5307-43B4-B7E4-DDCFCE959FF8}" dt="2024-11-27T12:43:04.320" v="115" actId="478"/>
          <ac:spMkLst>
            <pc:docMk/>
            <pc:sldMk cId="188356854" sldId="2147476133"/>
            <ac:spMk id="27" creationId="{FBF25F3C-DFC8-01C2-ED66-709F38A2479D}"/>
          </ac:spMkLst>
        </pc:spChg>
        <pc:spChg chg="del">
          <ac:chgData name="Jesus Aular" userId="640cfff3-3c1f-4741-a027-6eb8463950a8" providerId="ADAL" clId="{FCE2A3F7-5307-43B4-B7E4-DDCFCE959FF8}" dt="2024-11-27T12:43:04.320" v="115" actId="478"/>
          <ac:spMkLst>
            <pc:docMk/>
            <pc:sldMk cId="188356854" sldId="2147476133"/>
            <ac:spMk id="28" creationId="{1C6E973B-F8D0-8FA1-B03E-14C29677C45F}"/>
          </ac:spMkLst>
        </pc:spChg>
        <pc:spChg chg="del">
          <ac:chgData name="Jesus Aular" userId="640cfff3-3c1f-4741-a027-6eb8463950a8" providerId="ADAL" clId="{FCE2A3F7-5307-43B4-B7E4-DDCFCE959FF8}" dt="2024-11-27T12:43:04.320" v="115" actId="478"/>
          <ac:spMkLst>
            <pc:docMk/>
            <pc:sldMk cId="188356854" sldId="2147476133"/>
            <ac:spMk id="30" creationId="{2EF32BAE-35C3-F4ED-131C-96BAAED69894}"/>
          </ac:spMkLst>
        </pc:spChg>
        <pc:spChg chg="del">
          <ac:chgData name="Jesus Aular" userId="640cfff3-3c1f-4741-a027-6eb8463950a8" providerId="ADAL" clId="{FCE2A3F7-5307-43B4-B7E4-DDCFCE959FF8}" dt="2024-11-27T12:43:04.320" v="115" actId="478"/>
          <ac:spMkLst>
            <pc:docMk/>
            <pc:sldMk cId="188356854" sldId="2147476133"/>
            <ac:spMk id="31" creationId="{14710F1D-617F-1DB4-51DA-57B1D609E290}"/>
          </ac:spMkLst>
        </pc:spChg>
        <pc:picChg chg="del">
          <ac:chgData name="Jesus Aular" userId="640cfff3-3c1f-4741-a027-6eb8463950a8" providerId="ADAL" clId="{FCE2A3F7-5307-43B4-B7E4-DDCFCE959FF8}" dt="2024-11-27T12:43:04.320" v="115" actId="478"/>
          <ac:picMkLst>
            <pc:docMk/>
            <pc:sldMk cId="188356854" sldId="2147476133"/>
            <ac:picMk id="29" creationId="{1D5229BB-421B-7ECC-1FFF-D2C27294E613}"/>
          </ac:picMkLst>
        </pc:picChg>
      </pc:sldChg>
      <pc:sldChg chg="addSp delSp modSp mod">
        <pc:chgData name="Jesus Aular" userId="640cfff3-3c1f-4741-a027-6eb8463950a8" providerId="ADAL" clId="{FCE2A3F7-5307-43B4-B7E4-DDCFCE959FF8}" dt="2024-11-27T12:48:19.033" v="181" actId="20577"/>
        <pc:sldMkLst>
          <pc:docMk/>
          <pc:sldMk cId="2211572930" sldId="2147476136"/>
        </pc:sldMkLst>
        <pc:spChg chg="del">
          <ac:chgData name="Jesus Aular" userId="640cfff3-3c1f-4741-a027-6eb8463950a8" providerId="ADAL" clId="{FCE2A3F7-5307-43B4-B7E4-DDCFCE959FF8}" dt="2024-11-27T12:36:01.477" v="7" actId="478"/>
          <ac:spMkLst>
            <pc:docMk/>
            <pc:sldMk cId="2211572930" sldId="2147476136"/>
            <ac:spMk id="2" creationId="{A22A92A4-D9C1-B8B5-6297-D01E4E5644AF}"/>
          </ac:spMkLst>
        </pc:spChg>
        <pc:spChg chg="del">
          <ac:chgData name="Jesus Aular" userId="640cfff3-3c1f-4741-a027-6eb8463950a8" providerId="ADAL" clId="{FCE2A3F7-5307-43B4-B7E4-DDCFCE959FF8}" dt="2024-11-27T12:36:01.477" v="7" actId="478"/>
          <ac:spMkLst>
            <pc:docMk/>
            <pc:sldMk cId="2211572930" sldId="2147476136"/>
            <ac:spMk id="3" creationId="{8BE57626-21DF-8595-D12B-8CB807881874}"/>
          </ac:spMkLst>
        </pc:spChg>
        <pc:spChg chg="del">
          <ac:chgData name="Jesus Aular" userId="640cfff3-3c1f-4741-a027-6eb8463950a8" providerId="ADAL" clId="{FCE2A3F7-5307-43B4-B7E4-DDCFCE959FF8}" dt="2024-11-27T12:36:01.477" v="7" actId="478"/>
          <ac:spMkLst>
            <pc:docMk/>
            <pc:sldMk cId="2211572930" sldId="2147476136"/>
            <ac:spMk id="8" creationId="{462B133D-A754-0193-B537-CAF01E9DBF88}"/>
          </ac:spMkLst>
        </pc:spChg>
        <pc:spChg chg="del">
          <ac:chgData name="Jesus Aular" userId="640cfff3-3c1f-4741-a027-6eb8463950a8" providerId="ADAL" clId="{FCE2A3F7-5307-43B4-B7E4-DDCFCE959FF8}" dt="2024-11-27T12:36:13.655" v="12" actId="478"/>
          <ac:spMkLst>
            <pc:docMk/>
            <pc:sldMk cId="2211572930" sldId="2147476136"/>
            <ac:spMk id="9" creationId="{F0CEF157-24AC-4A5B-C7B7-08B5A399B392}"/>
          </ac:spMkLst>
        </pc:spChg>
        <pc:spChg chg="del">
          <ac:chgData name="Jesus Aular" userId="640cfff3-3c1f-4741-a027-6eb8463950a8" providerId="ADAL" clId="{FCE2A3F7-5307-43B4-B7E4-DDCFCE959FF8}" dt="2024-11-27T12:36:01.477" v="7" actId="478"/>
          <ac:spMkLst>
            <pc:docMk/>
            <pc:sldMk cId="2211572930" sldId="2147476136"/>
            <ac:spMk id="10" creationId="{A612E3E2-A00E-4E71-FFA5-415A4AEFEB16}"/>
          </ac:spMkLst>
        </pc:spChg>
        <pc:spChg chg="mod">
          <ac:chgData name="Jesus Aular" userId="640cfff3-3c1f-4741-a027-6eb8463950a8" providerId="ADAL" clId="{FCE2A3F7-5307-43B4-B7E4-DDCFCE959FF8}" dt="2024-11-27T12:48:19.033" v="181" actId="20577"/>
          <ac:spMkLst>
            <pc:docMk/>
            <pc:sldMk cId="2211572930" sldId="2147476136"/>
            <ac:spMk id="30" creationId="{907E0013-AA03-905C-9023-FD42FB1381EB}"/>
          </ac:spMkLst>
        </pc:spChg>
        <pc:spChg chg="del">
          <ac:chgData name="Jesus Aular" userId="640cfff3-3c1f-4741-a027-6eb8463950a8" providerId="ADAL" clId="{FCE2A3F7-5307-43B4-B7E4-DDCFCE959FF8}" dt="2024-11-27T12:36:10.804" v="11" actId="478"/>
          <ac:spMkLst>
            <pc:docMk/>
            <pc:sldMk cId="2211572930" sldId="2147476136"/>
            <ac:spMk id="33" creationId="{C26918C6-D76B-52C1-5CAB-F1C807296B3F}"/>
          </ac:spMkLst>
        </pc:spChg>
        <pc:spChg chg="del">
          <ac:chgData name="Jesus Aular" userId="640cfff3-3c1f-4741-a027-6eb8463950a8" providerId="ADAL" clId="{FCE2A3F7-5307-43B4-B7E4-DDCFCE959FF8}" dt="2024-11-27T12:36:10.804" v="11" actId="478"/>
          <ac:spMkLst>
            <pc:docMk/>
            <pc:sldMk cId="2211572930" sldId="2147476136"/>
            <ac:spMk id="34" creationId="{8D4674D2-59CF-CCB5-F03E-19DB644490F9}"/>
          </ac:spMkLst>
        </pc:spChg>
        <pc:spChg chg="del">
          <ac:chgData name="Jesus Aular" userId="640cfff3-3c1f-4741-a027-6eb8463950a8" providerId="ADAL" clId="{FCE2A3F7-5307-43B4-B7E4-DDCFCE959FF8}" dt="2024-11-27T12:36:10.804" v="11" actId="478"/>
          <ac:spMkLst>
            <pc:docMk/>
            <pc:sldMk cId="2211572930" sldId="2147476136"/>
            <ac:spMk id="35" creationId="{6F61AE0E-5FC1-432B-0900-95B9DA0C313C}"/>
          </ac:spMkLst>
        </pc:spChg>
        <pc:spChg chg="del">
          <ac:chgData name="Jesus Aular" userId="640cfff3-3c1f-4741-a027-6eb8463950a8" providerId="ADAL" clId="{FCE2A3F7-5307-43B4-B7E4-DDCFCE959FF8}" dt="2024-11-27T12:36:10.804" v="11" actId="478"/>
          <ac:spMkLst>
            <pc:docMk/>
            <pc:sldMk cId="2211572930" sldId="2147476136"/>
            <ac:spMk id="36" creationId="{2E0994AF-866A-DB23-31FD-31E1C4E29FCD}"/>
          </ac:spMkLst>
        </pc:spChg>
        <pc:spChg chg="del">
          <ac:chgData name="Jesus Aular" userId="640cfff3-3c1f-4741-a027-6eb8463950a8" providerId="ADAL" clId="{FCE2A3F7-5307-43B4-B7E4-DDCFCE959FF8}" dt="2024-11-27T12:36:10.804" v="11" actId="478"/>
          <ac:spMkLst>
            <pc:docMk/>
            <pc:sldMk cId="2211572930" sldId="2147476136"/>
            <ac:spMk id="37" creationId="{72457AD7-7728-5C01-592C-DCA1976A2112}"/>
          </ac:spMkLst>
        </pc:spChg>
        <pc:spChg chg="del">
          <ac:chgData name="Jesus Aular" userId="640cfff3-3c1f-4741-a027-6eb8463950a8" providerId="ADAL" clId="{FCE2A3F7-5307-43B4-B7E4-DDCFCE959FF8}" dt="2024-11-27T12:36:10.804" v="11" actId="478"/>
          <ac:spMkLst>
            <pc:docMk/>
            <pc:sldMk cId="2211572930" sldId="2147476136"/>
            <ac:spMk id="38" creationId="{8D51BFE7-F547-D663-23F3-4C1820B97BAD}"/>
          </ac:spMkLst>
        </pc:spChg>
        <pc:spChg chg="del">
          <ac:chgData name="Jesus Aular" userId="640cfff3-3c1f-4741-a027-6eb8463950a8" providerId="ADAL" clId="{FCE2A3F7-5307-43B4-B7E4-DDCFCE959FF8}" dt="2024-11-27T12:36:10.804" v="11" actId="478"/>
          <ac:spMkLst>
            <pc:docMk/>
            <pc:sldMk cId="2211572930" sldId="2147476136"/>
            <ac:spMk id="39" creationId="{747E1AD9-B31D-1BB6-E0D2-ECEAA5871268}"/>
          </ac:spMkLst>
        </pc:spChg>
        <pc:spChg chg="del">
          <ac:chgData name="Jesus Aular" userId="640cfff3-3c1f-4741-a027-6eb8463950a8" providerId="ADAL" clId="{FCE2A3F7-5307-43B4-B7E4-DDCFCE959FF8}" dt="2024-11-27T12:36:10.804" v="11" actId="478"/>
          <ac:spMkLst>
            <pc:docMk/>
            <pc:sldMk cId="2211572930" sldId="2147476136"/>
            <ac:spMk id="40" creationId="{AC830EFF-008A-5C75-F607-ADEC181FBFBF}"/>
          </ac:spMkLst>
        </pc:spChg>
        <pc:spChg chg="del">
          <ac:chgData name="Jesus Aular" userId="640cfff3-3c1f-4741-a027-6eb8463950a8" providerId="ADAL" clId="{FCE2A3F7-5307-43B4-B7E4-DDCFCE959FF8}" dt="2024-11-27T12:36:01.477" v="7" actId="478"/>
          <ac:spMkLst>
            <pc:docMk/>
            <pc:sldMk cId="2211572930" sldId="2147476136"/>
            <ac:spMk id="43" creationId="{BF3E3D68-04B8-F7FD-3BBF-8CF632B01F5A}"/>
          </ac:spMkLst>
        </pc:spChg>
        <pc:spChg chg="del">
          <ac:chgData name="Jesus Aular" userId="640cfff3-3c1f-4741-a027-6eb8463950a8" providerId="ADAL" clId="{FCE2A3F7-5307-43B4-B7E4-DDCFCE959FF8}" dt="2024-11-27T12:36:01.477" v="7" actId="478"/>
          <ac:spMkLst>
            <pc:docMk/>
            <pc:sldMk cId="2211572930" sldId="2147476136"/>
            <ac:spMk id="44" creationId="{1C0F7885-D442-A410-BD1D-6CEEC136155B}"/>
          </ac:spMkLst>
        </pc:spChg>
        <pc:grpChg chg="del">
          <ac:chgData name="Jesus Aular" userId="640cfff3-3c1f-4741-a027-6eb8463950a8" providerId="ADAL" clId="{FCE2A3F7-5307-43B4-B7E4-DDCFCE959FF8}" dt="2024-11-27T12:35:57.679" v="6" actId="478"/>
          <ac:grpSpMkLst>
            <pc:docMk/>
            <pc:sldMk cId="2211572930" sldId="2147476136"/>
            <ac:grpSpMk id="11" creationId="{C887C416-C732-8E81-7191-9F0F371325E5}"/>
          </ac:grpSpMkLst>
        </pc:grpChg>
        <pc:picChg chg="add mod ord">
          <ac:chgData name="Jesus Aular" userId="640cfff3-3c1f-4741-a027-6eb8463950a8" providerId="ADAL" clId="{FCE2A3F7-5307-43B4-B7E4-DDCFCE959FF8}" dt="2024-11-27T12:36:07.911" v="10" actId="167"/>
          <ac:picMkLst>
            <pc:docMk/>
            <pc:sldMk cId="2211572930" sldId="2147476136"/>
            <ac:picMk id="16" creationId="{61763D9B-39B9-EA87-88C4-C8D24AC5F6A5}"/>
          </ac:picMkLst>
        </pc:picChg>
        <pc:picChg chg="add mod ord">
          <ac:chgData name="Jesus Aular" userId="640cfff3-3c1f-4741-a027-6eb8463950a8" providerId="ADAL" clId="{FCE2A3F7-5307-43B4-B7E4-DDCFCE959FF8}" dt="2024-11-27T12:36:22.975" v="16" actId="1076"/>
          <ac:picMkLst>
            <pc:docMk/>
            <pc:sldMk cId="2211572930" sldId="2147476136"/>
            <ac:picMk id="17" creationId="{6D01D7D7-109A-2CCE-5F5F-CBEFE11F0C24}"/>
          </ac:picMkLst>
        </pc:picChg>
        <pc:picChg chg="del">
          <ac:chgData name="Jesus Aular" userId="640cfff3-3c1f-4741-a027-6eb8463950a8" providerId="ADAL" clId="{FCE2A3F7-5307-43B4-B7E4-DDCFCE959FF8}" dt="2024-11-27T12:36:01.477" v="7" actId="478"/>
          <ac:picMkLst>
            <pc:docMk/>
            <pc:sldMk cId="2211572930" sldId="2147476136"/>
            <ac:picMk id="46" creationId="{CA713DF1-4D9A-5D3D-30F5-1E1DE1FEE5DD}"/>
          </ac:picMkLst>
        </pc:picChg>
      </pc:sldChg>
      <pc:sldChg chg="modSp mod">
        <pc:chgData name="Jesus Aular" userId="640cfff3-3c1f-4741-a027-6eb8463950a8" providerId="ADAL" clId="{FCE2A3F7-5307-43B4-B7E4-DDCFCE959FF8}" dt="2024-11-27T12:50:42.866" v="207" actId="1076"/>
        <pc:sldMkLst>
          <pc:docMk/>
          <pc:sldMk cId="468561840" sldId="2147476138"/>
        </pc:sldMkLst>
        <pc:spChg chg="mod">
          <ac:chgData name="Jesus Aular" userId="640cfff3-3c1f-4741-a027-6eb8463950a8" providerId="ADAL" clId="{FCE2A3F7-5307-43B4-B7E4-DDCFCE959FF8}" dt="2024-11-27T12:50:26.857" v="203" actId="20577"/>
          <ac:spMkLst>
            <pc:docMk/>
            <pc:sldMk cId="468561840" sldId="2147476138"/>
            <ac:spMk id="37" creationId="{BD44B9E3-D8B4-B587-B65B-4C1A259E8931}"/>
          </ac:spMkLst>
        </pc:spChg>
        <pc:graphicFrameChg chg="mod modGraphic">
          <ac:chgData name="Jesus Aular" userId="640cfff3-3c1f-4741-a027-6eb8463950a8" providerId="ADAL" clId="{FCE2A3F7-5307-43B4-B7E4-DDCFCE959FF8}" dt="2024-11-27T12:50:42.866" v="207" actId="1076"/>
          <ac:graphicFrameMkLst>
            <pc:docMk/>
            <pc:sldMk cId="468561840" sldId="2147476138"/>
            <ac:graphicFrameMk id="10" creationId="{A9DFB8C9-E59A-45AB-F645-1C40E6749B88}"/>
          </ac:graphicFrameMkLst>
        </pc:graphicFrameChg>
        <pc:picChg chg="mod">
          <ac:chgData name="Jesus Aular" userId="640cfff3-3c1f-4741-a027-6eb8463950a8" providerId="ADAL" clId="{FCE2A3F7-5307-43B4-B7E4-DDCFCE959FF8}" dt="2024-11-27T12:50:33.348" v="204" actId="1076"/>
          <ac:picMkLst>
            <pc:docMk/>
            <pc:sldMk cId="468561840" sldId="2147476138"/>
            <ac:picMk id="25" creationId="{95096AB9-401C-82CA-8464-36771960A714}"/>
          </ac:picMkLst>
        </pc:picChg>
        <pc:picChg chg="mod">
          <ac:chgData name="Jesus Aular" userId="640cfff3-3c1f-4741-a027-6eb8463950a8" providerId="ADAL" clId="{FCE2A3F7-5307-43B4-B7E4-DDCFCE959FF8}" dt="2024-11-27T12:50:33.348" v="204" actId="1076"/>
          <ac:picMkLst>
            <pc:docMk/>
            <pc:sldMk cId="468561840" sldId="2147476138"/>
            <ac:picMk id="27" creationId="{CC3E1DAA-DA5A-6D90-CC53-EFCDB149C7A4}"/>
          </ac:picMkLst>
        </pc:picChg>
        <pc:picChg chg="mod">
          <ac:chgData name="Jesus Aular" userId="640cfff3-3c1f-4741-a027-6eb8463950a8" providerId="ADAL" clId="{FCE2A3F7-5307-43B4-B7E4-DDCFCE959FF8}" dt="2024-11-27T12:50:33.348" v="204" actId="1076"/>
          <ac:picMkLst>
            <pc:docMk/>
            <pc:sldMk cId="468561840" sldId="2147476138"/>
            <ac:picMk id="29" creationId="{9DC2EB35-8660-95C6-3036-464291D2B1AC}"/>
          </ac:picMkLst>
        </pc:picChg>
      </pc:sldChg>
      <pc:sldChg chg="mod modShow">
        <pc:chgData name="Jesus Aular" userId="640cfff3-3c1f-4741-a027-6eb8463950a8" providerId="ADAL" clId="{FCE2A3F7-5307-43B4-B7E4-DDCFCE959FF8}" dt="2024-11-27T12:38:22.715" v="31" actId="729"/>
        <pc:sldMkLst>
          <pc:docMk/>
          <pc:sldMk cId="1546283532" sldId="2147476139"/>
        </pc:sldMkLst>
      </pc:sldChg>
      <pc:sldChg chg="addSp modSp del mod modClrScheme chgLayout">
        <pc:chgData name="Jesus Aular" userId="640cfff3-3c1f-4741-a027-6eb8463950a8" providerId="ADAL" clId="{FCE2A3F7-5307-43B4-B7E4-DDCFCE959FF8}" dt="2024-11-27T12:36:37.841" v="17" actId="47"/>
        <pc:sldMkLst>
          <pc:docMk/>
          <pc:sldMk cId="0" sldId="2147476144"/>
        </pc:sldMkLst>
        <pc:spChg chg="add mod ord">
          <ac:chgData name="Jesus Aular" userId="640cfff3-3c1f-4741-a027-6eb8463950a8" providerId="ADAL" clId="{FCE2A3F7-5307-43B4-B7E4-DDCFCE959FF8}" dt="2024-11-27T11:46:41.252" v="2" actId="700"/>
          <ac:spMkLst>
            <pc:docMk/>
            <pc:sldMk cId="0" sldId="2147476144"/>
            <ac:spMk id="2" creationId="{13559827-AC56-F196-1A91-66D3905C33DD}"/>
          </ac:spMkLst>
        </pc:spChg>
      </pc:sldChg>
      <pc:sldChg chg="addSp modSp del mod modClrScheme chgLayout">
        <pc:chgData name="Jesus Aular" userId="640cfff3-3c1f-4741-a027-6eb8463950a8" providerId="ADAL" clId="{FCE2A3F7-5307-43B4-B7E4-DDCFCE959FF8}" dt="2024-11-27T12:36:37.841" v="17" actId="47"/>
        <pc:sldMkLst>
          <pc:docMk/>
          <pc:sldMk cId="0" sldId="2147476145"/>
        </pc:sldMkLst>
        <pc:spChg chg="add mod ord">
          <ac:chgData name="Jesus Aular" userId="640cfff3-3c1f-4741-a027-6eb8463950a8" providerId="ADAL" clId="{FCE2A3F7-5307-43B4-B7E4-DDCFCE959FF8}" dt="2024-11-27T11:46:41.252" v="2" actId="700"/>
          <ac:spMkLst>
            <pc:docMk/>
            <pc:sldMk cId="0" sldId="2147476145"/>
            <ac:spMk id="2" creationId="{25F37D15-53F1-6B31-A748-E99B913334D7}"/>
          </ac:spMkLst>
        </pc:spChg>
      </pc:sldChg>
      <pc:sldChg chg="addSp modSp mod modClrScheme chgLayout">
        <pc:chgData name="Jesus Aular" userId="640cfff3-3c1f-4741-a027-6eb8463950a8" providerId="ADAL" clId="{FCE2A3F7-5307-43B4-B7E4-DDCFCE959FF8}" dt="2024-11-27T12:49:38.446" v="196" actId="1036"/>
        <pc:sldMkLst>
          <pc:docMk/>
          <pc:sldMk cId="1025010224" sldId="2147476146"/>
        </pc:sldMkLst>
        <pc:spChg chg="add mod ord">
          <ac:chgData name="Jesus Aular" userId="640cfff3-3c1f-4741-a027-6eb8463950a8" providerId="ADAL" clId="{FCE2A3F7-5307-43B4-B7E4-DDCFCE959FF8}" dt="2024-11-27T11:46:41.252" v="2" actId="700"/>
          <ac:spMkLst>
            <pc:docMk/>
            <pc:sldMk cId="1025010224" sldId="2147476146"/>
            <ac:spMk id="2" creationId="{C7753362-5883-2010-B28F-E50FA245AD8B}"/>
          </ac:spMkLst>
        </pc:spChg>
        <pc:picChg chg="mod">
          <ac:chgData name="Jesus Aular" userId="640cfff3-3c1f-4741-a027-6eb8463950a8" providerId="ADAL" clId="{FCE2A3F7-5307-43B4-B7E4-DDCFCE959FF8}" dt="2024-11-27T12:49:38.446" v="196" actId="1036"/>
          <ac:picMkLst>
            <pc:docMk/>
            <pc:sldMk cId="1025010224" sldId="2147476146"/>
            <ac:picMk id="3" creationId="{C054EE00-E8F0-A04E-66B9-F99166B9EE8B}"/>
          </ac:picMkLst>
        </pc:picChg>
      </pc:sldChg>
      <pc:sldChg chg="addSp modSp new mod">
        <pc:chgData name="Jesus Aular" userId="640cfff3-3c1f-4741-a027-6eb8463950a8" providerId="ADAL" clId="{FCE2A3F7-5307-43B4-B7E4-DDCFCE959FF8}" dt="2024-11-27T12:40:39.970" v="102" actId="113"/>
        <pc:sldMkLst>
          <pc:docMk/>
          <pc:sldMk cId="1483227259" sldId="2147476147"/>
        </pc:sldMkLst>
        <pc:spChg chg="mod">
          <ac:chgData name="Jesus Aular" userId="640cfff3-3c1f-4741-a027-6eb8463950a8" providerId="ADAL" clId="{FCE2A3F7-5307-43B4-B7E4-DDCFCE959FF8}" dt="2024-11-27T12:40:39.970" v="102" actId="113"/>
          <ac:spMkLst>
            <pc:docMk/>
            <pc:sldMk cId="1483227259" sldId="2147476147"/>
            <ac:spMk id="2" creationId="{E1566D02-B0CA-0BEB-6CA1-6EA505A1C559}"/>
          </ac:spMkLst>
        </pc:spChg>
        <pc:picChg chg="add mod">
          <ac:chgData name="Jesus Aular" userId="640cfff3-3c1f-4741-a027-6eb8463950a8" providerId="ADAL" clId="{FCE2A3F7-5307-43B4-B7E4-DDCFCE959FF8}" dt="2024-11-27T12:40:15.696" v="43" actId="1076"/>
          <ac:picMkLst>
            <pc:docMk/>
            <pc:sldMk cId="1483227259" sldId="2147476147"/>
            <ac:picMk id="4" creationId="{5BB87AF0-AFDA-4A61-BF1C-BD083D2BDCFE}"/>
          </ac:picMkLst>
        </pc:picChg>
        <pc:picChg chg="add mod">
          <ac:chgData name="Jesus Aular" userId="640cfff3-3c1f-4741-a027-6eb8463950a8" providerId="ADAL" clId="{FCE2A3F7-5307-43B4-B7E4-DDCFCE959FF8}" dt="2024-11-27T12:40:20.827" v="46" actId="1076"/>
          <ac:picMkLst>
            <pc:docMk/>
            <pc:sldMk cId="1483227259" sldId="2147476147"/>
            <ac:picMk id="6" creationId="{0378527F-C2DF-6244-DDEC-201F9FFE6548}"/>
          </ac:picMkLst>
        </pc:picChg>
      </pc:sldChg>
      <pc:sldChg chg="addSp modSp new mod">
        <pc:chgData name="Jesus Aular" userId="640cfff3-3c1f-4741-a027-6eb8463950a8" providerId="ADAL" clId="{FCE2A3F7-5307-43B4-B7E4-DDCFCE959FF8}" dt="2024-11-27T12:47:13.140" v="180" actId="207"/>
        <pc:sldMkLst>
          <pc:docMk/>
          <pc:sldMk cId="1361378750" sldId="2147476148"/>
        </pc:sldMkLst>
        <pc:spChg chg="add mod">
          <ac:chgData name="Jesus Aular" userId="640cfff3-3c1f-4741-a027-6eb8463950a8" providerId="ADAL" clId="{FCE2A3F7-5307-43B4-B7E4-DDCFCE959FF8}" dt="2024-11-27T12:47:13.140" v="180" actId="207"/>
          <ac:spMkLst>
            <pc:docMk/>
            <pc:sldMk cId="1361378750" sldId="2147476148"/>
            <ac:spMk id="5" creationId="{61F43B98-1CF4-80EA-3F68-EC8E576BAA86}"/>
          </ac:spMkLst>
        </pc:spChg>
        <pc:picChg chg="add">
          <ac:chgData name="Jesus Aular" userId="640cfff3-3c1f-4741-a027-6eb8463950a8" providerId="ADAL" clId="{FCE2A3F7-5307-43B4-B7E4-DDCFCE959FF8}" dt="2024-11-27T12:46:10.052" v="156" actId="22"/>
          <ac:picMkLst>
            <pc:docMk/>
            <pc:sldMk cId="1361378750" sldId="2147476148"/>
            <ac:picMk id="4" creationId="{85C4525C-019D-21B4-6AED-BA69C471BDF0}"/>
          </ac:picMkLst>
        </pc:picChg>
      </pc:sldChg>
      <pc:sldMasterChg chg="del delSldLayout">
        <pc:chgData name="Jesus Aular" userId="640cfff3-3c1f-4741-a027-6eb8463950a8" providerId="ADAL" clId="{FCE2A3F7-5307-43B4-B7E4-DDCFCE959FF8}" dt="2024-11-27T11:46:41.252" v="2" actId="700"/>
        <pc:sldMasterMkLst>
          <pc:docMk/>
          <pc:sldMasterMk cId="2613361509" sldId="2147484060"/>
        </pc:sldMasterMkLst>
        <pc:sldLayoutChg chg="del">
          <pc:chgData name="Jesus Aular" userId="640cfff3-3c1f-4741-a027-6eb8463950a8" providerId="ADAL" clId="{FCE2A3F7-5307-43B4-B7E4-DDCFCE959FF8}" dt="2024-11-27T11:46:41.252" v="2" actId="700"/>
          <pc:sldLayoutMkLst>
            <pc:docMk/>
            <pc:sldMasterMk cId="2613361509" sldId="2147484060"/>
            <pc:sldLayoutMk cId="686026035" sldId="2147484061"/>
          </pc:sldLayoutMkLst>
        </pc:sldLayoutChg>
      </pc:sldMasterChg>
      <pc:sldMasterChg chg="del delSldLayout">
        <pc:chgData name="Jesus Aular" userId="640cfff3-3c1f-4741-a027-6eb8463950a8" providerId="ADAL" clId="{FCE2A3F7-5307-43B4-B7E4-DDCFCE959FF8}" dt="2024-11-27T12:34:25.849" v="5" actId="700"/>
        <pc:sldMasterMkLst>
          <pc:docMk/>
          <pc:sldMasterMk cId="4136879518" sldId="2147484060"/>
        </pc:sldMasterMkLst>
        <pc:sldLayoutChg chg="del">
          <pc:chgData name="Jesus Aular" userId="640cfff3-3c1f-4741-a027-6eb8463950a8" providerId="ADAL" clId="{FCE2A3F7-5307-43B4-B7E4-DDCFCE959FF8}" dt="2024-11-27T12:34:25.849" v="5" actId="700"/>
          <pc:sldLayoutMkLst>
            <pc:docMk/>
            <pc:sldMasterMk cId="4136879518" sldId="2147484060"/>
            <pc:sldLayoutMk cId="460647303" sldId="2147484061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D40324A4-BAC6-49C2-92E0-DD837277E25B}" type="datetimeFigureOut">
              <a:rPr lang="es-CL" smtClean="0"/>
              <a:t>16-12-2024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97DE1A5-0F35-4A21-9DC2-6ED16CDCFDD0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249881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6440" rtl="0" eaLnBrk="1" latinLnBrk="0" hangingPunct="1">
      <a:defRPr sz="901" kern="1200">
        <a:solidFill>
          <a:schemeClr val="tx1"/>
        </a:solidFill>
        <a:latin typeface="+mn-lt"/>
        <a:ea typeface="+mn-ea"/>
        <a:cs typeface="+mn-cs"/>
      </a:defRPr>
    </a:lvl1pPr>
    <a:lvl2pPr marL="343220" algn="l" defTabSz="686440" rtl="0" eaLnBrk="1" latinLnBrk="0" hangingPunct="1">
      <a:defRPr sz="901" kern="1200">
        <a:solidFill>
          <a:schemeClr val="tx1"/>
        </a:solidFill>
        <a:latin typeface="+mn-lt"/>
        <a:ea typeface="+mn-ea"/>
        <a:cs typeface="+mn-cs"/>
      </a:defRPr>
    </a:lvl2pPr>
    <a:lvl3pPr marL="686440" algn="l" defTabSz="686440" rtl="0" eaLnBrk="1" latinLnBrk="0" hangingPunct="1">
      <a:defRPr sz="901" kern="1200">
        <a:solidFill>
          <a:schemeClr val="tx1"/>
        </a:solidFill>
        <a:latin typeface="+mn-lt"/>
        <a:ea typeface="+mn-ea"/>
        <a:cs typeface="+mn-cs"/>
      </a:defRPr>
    </a:lvl3pPr>
    <a:lvl4pPr marL="1029660" algn="l" defTabSz="686440" rtl="0" eaLnBrk="1" latinLnBrk="0" hangingPunct="1">
      <a:defRPr sz="901" kern="1200">
        <a:solidFill>
          <a:schemeClr val="tx1"/>
        </a:solidFill>
        <a:latin typeface="+mn-lt"/>
        <a:ea typeface="+mn-ea"/>
        <a:cs typeface="+mn-cs"/>
      </a:defRPr>
    </a:lvl4pPr>
    <a:lvl5pPr marL="1372880" algn="l" defTabSz="686440" rtl="0" eaLnBrk="1" latinLnBrk="0" hangingPunct="1">
      <a:defRPr sz="901" kern="1200">
        <a:solidFill>
          <a:schemeClr val="tx1"/>
        </a:solidFill>
        <a:latin typeface="+mn-lt"/>
        <a:ea typeface="+mn-ea"/>
        <a:cs typeface="+mn-cs"/>
      </a:defRPr>
    </a:lvl5pPr>
    <a:lvl6pPr marL="1716100" algn="l" defTabSz="686440" rtl="0" eaLnBrk="1" latinLnBrk="0" hangingPunct="1">
      <a:defRPr sz="901" kern="1200">
        <a:solidFill>
          <a:schemeClr val="tx1"/>
        </a:solidFill>
        <a:latin typeface="+mn-lt"/>
        <a:ea typeface="+mn-ea"/>
        <a:cs typeface="+mn-cs"/>
      </a:defRPr>
    </a:lvl6pPr>
    <a:lvl7pPr marL="2059320" algn="l" defTabSz="686440" rtl="0" eaLnBrk="1" latinLnBrk="0" hangingPunct="1">
      <a:defRPr sz="901" kern="1200">
        <a:solidFill>
          <a:schemeClr val="tx1"/>
        </a:solidFill>
        <a:latin typeface="+mn-lt"/>
        <a:ea typeface="+mn-ea"/>
        <a:cs typeface="+mn-cs"/>
      </a:defRPr>
    </a:lvl7pPr>
    <a:lvl8pPr marL="2402540" algn="l" defTabSz="686440" rtl="0" eaLnBrk="1" latinLnBrk="0" hangingPunct="1">
      <a:defRPr sz="901" kern="1200">
        <a:solidFill>
          <a:schemeClr val="tx1"/>
        </a:solidFill>
        <a:latin typeface="+mn-lt"/>
        <a:ea typeface="+mn-ea"/>
        <a:cs typeface="+mn-cs"/>
      </a:defRPr>
    </a:lvl8pPr>
    <a:lvl9pPr marL="2745760" algn="l" defTabSz="686440" rtl="0" eaLnBrk="1" latinLnBrk="0" hangingPunct="1">
      <a:defRPr sz="90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811923-6157-4569-8531-F73196479CA8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48732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>
          <a:extLst>
            <a:ext uri="{FF2B5EF4-FFF2-40B4-BE49-F238E27FC236}">
              <a16:creationId xmlns:a16="http://schemas.microsoft.com/office/drawing/2014/main" id="{64C73812-987C-FEC2-4788-8F52414537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9:notes">
            <a:extLst>
              <a:ext uri="{FF2B5EF4-FFF2-40B4-BE49-F238E27FC236}">
                <a16:creationId xmlns:a16="http://schemas.microsoft.com/office/drawing/2014/main" id="{C7755EAD-AD68-803F-51F9-36F6D996759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" name="Google Shape;164;p9:notes">
            <a:extLst>
              <a:ext uri="{FF2B5EF4-FFF2-40B4-BE49-F238E27FC236}">
                <a16:creationId xmlns:a16="http://schemas.microsoft.com/office/drawing/2014/main" id="{531A0A2E-148C-A623-7D9A-A5DD8186C83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09930" y="4925409"/>
            <a:ext cx="5679440" cy="4030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2" tIns="49497" rIns="99022" bIns="49497" anchor="t" anchorCtr="0">
            <a:noAutofit/>
          </a:bodyPr>
          <a:lstStyle/>
          <a:p>
            <a:pPr marL="0" indent="0"/>
            <a:endParaRPr/>
          </a:p>
        </p:txBody>
      </p:sp>
      <p:sp>
        <p:nvSpPr>
          <p:cNvPr id="165" name="Google Shape;165;p9:notes">
            <a:extLst>
              <a:ext uri="{FF2B5EF4-FFF2-40B4-BE49-F238E27FC236}">
                <a16:creationId xmlns:a16="http://schemas.microsoft.com/office/drawing/2014/main" id="{D55F82BD-8176-C14F-4505-5F906C739E40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4021295" y="9721108"/>
            <a:ext cx="3076363" cy="5134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2" tIns="49497" rIns="99022" bIns="49497" anchor="b" anchorCtr="0">
            <a:noAutofit/>
          </a:bodyPr>
          <a:lstStyle/>
          <a:p>
            <a:pPr algn="r">
              <a:buSzPts val="1200"/>
            </a:pPr>
            <a:fld id="{00000000-1234-1234-1234-123412341234}" type="slidenum">
              <a:rPr lang="es-CL"/>
              <a:pPr algn="r">
                <a:buSzPts val="1200"/>
              </a:pPr>
              <a:t>19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07393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>
          <a:extLst>
            <a:ext uri="{FF2B5EF4-FFF2-40B4-BE49-F238E27FC236}">
              <a16:creationId xmlns:a16="http://schemas.microsoft.com/office/drawing/2014/main" id="{347953A7-2789-AFE8-FFBD-18C2350F14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9:notes">
            <a:extLst>
              <a:ext uri="{FF2B5EF4-FFF2-40B4-BE49-F238E27FC236}">
                <a16:creationId xmlns:a16="http://schemas.microsoft.com/office/drawing/2014/main" id="{7A9E0241-10AD-BD4A-747B-AFC54BF4661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" name="Google Shape;164;p9:notes">
            <a:extLst>
              <a:ext uri="{FF2B5EF4-FFF2-40B4-BE49-F238E27FC236}">
                <a16:creationId xmlns:a16="http://schemas.microsoft.com/office/drawing/2014/main" id="{80A4423F-0B85-AD30-2DA4-B8C8607927A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09930" y="4925409"/>
            <a:ext cx="5679440" cy="4030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2" tIns="49497" rIns="99022" bIns="49497" anchor="t" anchorCtr="0">
            <a:noAutofit/>
          </a:bodyPr>
          <a:lstStyle/>
          <a:p>
            <a:pPr marL="0" indent="0"/>
            <a:endParaRPr/>
          </a:p>
        </p:txBody>
      </p:sp>
      <p:sp>
        <p:nvSpPr>
          <p:cNvPr id="165" name="Google Shape;165;p9:notes">
            <a:extLst>
              <a:ext uri="{FF2B5EF4-FFF2-40B4-BE49-F238E27FC236}">
                <a16:creationId xmlns:a16="http://schemas.microsoft.com/office/drawing/2014/main" id="{0B3366DA-A169-6813-EAFA-FAF675D080BB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4021295" y="9721108"/>
            <a:ext cx="3076363" cy="5134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2" tIns="49497" rIns="99022" bIns="49497" anchor="b" anchorCtr="0">
            <a:noAutofit/>
          </a:bodyPr>
          <a:lstStyle/>
          <a:p>
            <a:pPr algn="r">
              <a:buSzPts val="1200"/>
            </a:pPr>
            <a:fld id="{00000000-1234-1234-1234-123412341234}" type="slidenum">
              <a:rPr lang="es-CL"/>
              <a:pPr algn="r">
                <a:buSzPts val="1200"/>
              </a:pPr>
              <a:t>20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07595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2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3BAC0-65A2-45D3-94BD-FE81D106EA4C}" type="slidenum">
              <a:rPr kumimoji="0" lang="es-C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2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C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21100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7DE1A5-0F35-4A21-9DC2-6ED16CDCFDD0}" type="slidenum">
              <a:rPr lang="es-CL" smtClean="0"/>
              <a:t>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285105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" name="Google Shape;236;p17:notes"/>
          <p:cNvSpPr txBox="1">
            <a:spLocks noGrp="1"/>
          </p:cNvSpPr>
          <p:nvPr>
            <p:ph type="body" idx="1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</p:spPr>
        <p:txBody>
          <a:bodyPr spcFirstLastPara="1" wrap="square" lIns="99022" tIns="49497" rIns="99022" bIns="49497" anchor="t" anchorCtr="0">
            <a:noAutofit/>
          </a:bodyPr>
          <a:lstStyle/>
          <a:p>
            <a:pPr marL="0" indent="0"/>
            <a:endParaRPr/>
          </a:p>
        </p:txBody>
      </p:sp>
      <p:sp>
        <p:nvSpPr>
          <p:cNvPr id="237" name="Google Shape;237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37275" cy="34528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37275" cy="34528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36" name="Google Shape;136;p6:notes"/>
          <p:cNvSpPr txBox="1">
            <a:spLocks noGrp="1"/>
          </p:cNvSpPr>
          <p:nvPr>
            <p:ph type="body" idx="1"/>
          </p:nvPr>
        </p:nvSpPr>
        <p:spPr>
          <a:xfrm>
            <a:off x="709930" y="4925408"/>
            <a:ext cx="5679440" cy="4030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2" tIns="49497" rIns="99022" bIns="49497" anchor="t" anchorCtr="0">
            <a:noAutofit/>
          </a:bodyPr>
          <a:lstStyle/>
          <a:p>
            <a:pPr marL="0" indent="0"/>
            <a:endParaRPr/>
          </a:p>
        </p:txBody>
      </p:sp>
      <p:sp>
        <p:nvSpPr>
          <p:cNvPr id="137" name="Google Shape;137;p6:notes"/>
          <p:cNvSpPr txBox="1">
            <a:spLocks noGrp="1"/>
          </p:cNvSpPr>
          <p:nvPr>
            <p:ph type="sldNum" idx="12"/>
          </p:nvPr>
        </p:nvSpPr>
        <p:spPr>
          <a:xfrm>
            <a:off x="4021294" y="9721107"/>
            <a:ext cx="3076363" cy="5134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2" tIns="49497" rIns="99022" bIns="49497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es-CL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0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78332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37275" cy="34528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" name="Google Shape;164;p9:notes"/>
          <p:cNvSpPr txBox="1">
            <a:spLocks noGrp="1"/>
          </p:cNvSpPr>
          <p:nvPr>
            <p:ph type="body" idx="1"/>
          </p:nvPr>
        </p:nvSpPr>
        <p:spPr>
          <a:xfrm>
            <a:off x="709930" y="4925408"/>
            <a:ext cx="5679440" cy="4030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2" tIns="49497" rIns="99022" bIns="49497" anchor="t" anchorCtr="0">
            <a:noAutofit/>
          </a:bodyPr>
          <a:lstStyle/>
          <a:p>
            <a:pPr marL="0" indent="0"/>
            <a:endParaRPr/>
          </a:p>
        </p:txBody>
      </p:sp>
      <p:sp>
        <p:nvSpPr>
          <p:cNvPr id="165" name="Google Shape;165;p9:notes"/>
          <p:cNvSpPr txBox="1">
            <a:spLocks noGrp="1"/>
          </p:cNvSpPr>
          <p:nvPr>
            <p:ph type="sldNum" idx="12"/>
          </p:nvPr>
        </p:nvSpPr>
        <p:spPr>
          <a:xfrm>
            <a:off x="4021294" y="9721107"/>
            <a:ext cx="3076363" cy="5134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2" tIns="49497" rIns="99022" bIns="49497" anchor="b" anchorCtr="0">
            <a:noAutofit/>
          </a:bodyPr>
          <a:lstStyle/>
          <a:p>
            <a:pPr algn="r">
              <a:buSzPts val="1200"/>
            </a:pPr>
            <a:fld id="{00000000-1234-1234-1234-123412341234}" type="slidenum">
              <a:rPr lang="es-CL"/>
              <a:pPr algn="r">
                <a:buSzPts val="1200"/>
              </a:pPr>
              <a:t>12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37275" cy="34528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3" name="Google Shape;103;p3:notes"/>
          <p:cNvSpPr txBox="1">
            <a:spLocks noGrp="1"/>
          </p:cNvSpPr>
          <p:nvPr>
            <p:ph type="body" idx="1"/>
          </p:nvPr>
        </p:nvSpPr>
        <p:spPr>
          <a:xfrm>
            <a:off x="709930" y="4925408"/>
            <a:ext cx="5679440" cy="4030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2" tIns="49497" rIns="99022" bIns="49497" anchor="t" anchorCtr="0">
            <a:noAutofit/>
          </a:bodyPr>
          <a:lstStyle/>
          <a:p>
            <a:pPr marL="0" indent="0"/>
            <a:endParaRPr/>
          </a:p>
        </p:txBody>
      </p:sp>
      <p:sp>
        <p:nvSpPr>
          <p:cNvPr id="104" name="Google Shape;104;p3:notes"/>
          <p:cNvSpPr txBox="1">
            <a:spLocks noGrp="1"/>
          </p:cNvSpPr>
          <p:nvPr>
            <p:ph type="sldNum" idx="12"/>
          </p:nvPr>
        </p:nvSpPr>
        <p:spPr>
          <a:xfrm>
            <a:off x="4021294" y="9721107"/>
            <a:ext cx="3076363" cy="5134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2" tIns="49497" rIns="99022" bIns="49497" anchor="b" anchorCtr="0">
            <a:noAutofit/>
          </a:bodyPr>
          <a:lstStyle/>
          <a:p>
            <a:pPr algn="r">
              <a:buSzPts val="1400"/>
            </a:pPr>
            <a:fld id="{00000000-1234-1234-1234-123412341234}" type="slidenum">
              <a:rPr lang="es-CL"/>
              <a:pPr algn="r">
                <a:buSzPts val="1400"/>
              </a:pPr>
              <a:t>13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/>
              <a:t>Afluencia Promedio DL: 17.835 </a:t>
            </a:r>
          </a:p>
          <a:p>
            <a:r>
              <a:rPr lang="es-CL"/>
              <a:t>Solo PBC- </a:t>
            </a:r>
            <a:r>
              <a:rPr lang="es-CL">
                <a:highlight>
                  <a:srgbClr val="0000FF"/>
                </a:highlight>
              </a:rPr>
              <a:t>PDA</a:t>
            </a:r>
          </a:p>
          <a:p>
            <a:r>
              <a:rPr lang="es-CL"/>
              <a:t>SP no tiene revalorización interior </a:t>
            </a:r>
            <a:r>
              <a:rPr lang="es-CL">
                <a:highlight>
                  <a:srgbClr val="0000FF"/>
                </a:highlight>
              </a:rPr>
              <a:t>(es un tema de construcción, no se quiere trabajar 2 proyectos grandes juntos por los tiempos acotados)</a:t>
            </a:r>
          </a:p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7DE1A5-0F35-4A21-9DC2-6ED16CDCFDD0}" type="slidenum">
              <a:rPr lang="es-CL" smtClean="0"/>
              <a:t>1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0390879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2">
          <a:extLst>
            <a:ext uri="{FF2B5EF4-FFF2-40B4-BE49-F238E27FC236}">
              <a16:creationId xmlns:a16="http://schemas.microsoft.com/office/drawing/2014/main" id="{EAEACE5B-2D57-688C-118F-F52C345436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Google Shape;163;p9:notes">
            <a:extLst>
              <a:ext uri="{FF2B5EF4-FFF2-40B4-BE49-F238E27FC236}">
                <a16:creationId xmlns:a16="http://schemas.microsoft.com/office/drawing/2014/main" id="{4CE015A7-BF74-4C77-9588-7D0D60FB782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64" name="Google Shape;164;p9:notes">
            <a:extLst>
              <a:ext uri="{FF2B5EF4-FFF2-40B4-BE49-F238E27FC236}">
                <a16:creationId xmlns:a16="http://schemas.microsoft.com/office/drawing/2014/main" id="{6E1702C5-F9A3-73B9-3181-2D7CD8DB31B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709930" y="4925409"/>
            <a:ext cx="5679440" cy="4030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2" tIns="49497" rIns="99022" bIns="49497" anchor="t" anchorCtr="0">
            <a:noAutofit/>
          </a:bodyPr>
          <a:lstStyle/>
          <a:p>
            <a:pPr marL="0" indent="0"/>
            <a:endParaRPr/>
          </a:p>
        </p:txBody>
      </p:sp>
      <p:sp>
        <p:nvSpPr>
          <p:cNvPr id="165" name="Google Shape;165;p9:notes">
            <a:extLst>
              <a:ext uri="{FF2B5EF4-FFF2-40B4-BE49-F238E27FC236}">
                <a16:creationId xmlns:a16="http://schemas.microsoft.com/office/drawing/2014/main" id="{5D32508E-BB97-5600-2ED2-C0A3AF91199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4021295" y="9721108"/>
            <a:ext cx="3076363" cy="5134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9022" tIns="49497" rIns="99022" bIns="49497" anchor="b" anchorCtr="0">
            <a:noAutofit/>
          </a:bodyPr>
          <a:lstStyle/>
          <a:p>
            <a:pPr algn="r">
              <a:buSzPts val="1200"/>
            </a:pPr>
            <a:fld id="{00000000-1234-1234-1234-123412341234}" type="slidenum">
              <a:rPr lang="es-CL"/>
              <a:pPr algn="r">
                <a:buSzPts val="1200"/>
              </a:pPr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48388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1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1F6418A9-4EAC-420D-9862-6C8F3F54EF4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84" cy="6858000"/>
          </a:xfrm>
          <a:prstGeom prst="rect">
            <a:avLst/>
          </a:prstGeom>
        </p:spPr>
      </p:pic>
      <p:sp>
        <p:nvSpPr>
          <p:cNvPr id="5" name="Título 1"/>
          <p:cNvSpPr>
            <a:spLocks noGrp="1"/>
          </p:cNvSpPr>
          <p:nvPr>
            <p:ph type="ctrTitle"/>
          </p:nvPr>
        </p:nvSpPr>
        <p:spPr>
          <a:xfrm>
            <a:off x="-593" y="4165883"/>
            <a:ext cx="7152713" cy="697636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lIns="360000" anchor="ctr">
            <a:noAutofit/>
          </a:bodyPr>
          <a:lstStyle>
            <a:lvl1pPr algn="l">
              <a:defRPr sz="1800">
                <a:solidFill>
                  <a:srgbClr val="FFFFFF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7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" y="5080846"/>
            <a:ext cx="6338244" cy="575883"/>
          </a:xfrm>
          <a:solidFill>
            <a:schemeClr val="tx1">
              <a:alpha val="50000"/>
            </a:schemeClr>
          </a:solidFill>
          <a:ln>
            <a:noFill/>
          </a:ln>
        </p:spPr>
        <p:txBody>
          <a:bodyPr lIns="360000" anchor="ctr">
            <a:norm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Gotham" panose="02000604030000020004" pitchFamily="50" charset="0"/>
                <a:cs typeface="Gotham" panose="02000604030000020004" pitchFamily="50" charset="0"/>
              </a:defRPr>
            </a:lvl1pPr>
            <a:lvl2pPr marL="4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subtítulo</a:t>
            </a:r>
            <a:endParaRPr lang="es-ES"/>
          </a:p>
        </p:txBody>
      </p:sp>
      <p:sp>
        <p:nvSpPr>
          <p:cNvPr id="8" name="Marcador de texto 10"/>
          <p:cNvSpPr>
            <a:spLocks noGrp="1"/>
          </p:cNvSpPr>
          <p:nvPr>
            <p:ph type="body" sz="quarter" idx="11" hasCustomPrompt="1"/>
          </p:nvPr>
        </p:nvSpPr>
        <p:spPr>
          <a:xfrm>
            <a:off x="21" y="5919979"/>
            <a:ext cx="4298255" cy="459471"/>
          </a:xfrm>
          <a:solidFill>
            <a:schemeClr val="tx1">
              <a:alpha val="50000"/>
            </a:schemeClr>
          </a:solidFill>
          <a:ln>
            <a:noFill/>
          </a:ln>
        </p:spPr>
        <p:txBody>
          <a:bodyPr lIns="360000" anchor="ctr">
            <a:noAutofit/>
          </a:bodyPr>
          <a:lstStyle>
            <a:lvl1pPr marL="0" indent="0">
              <a:buNone/>
              <a:defRPr sz="1101">
                <a:solidFill>
                  <a:srgbClr val="FFFFFF"/>
                </a:solidFill>
                <a:latin typeface="Gotham" panose="02000604030000020004" pitchFamily="50" charset="0"/>
                <a:cs typeface="Arial"/>
              </a:defRPr>
            </a:lvl1pPr>
            <a:lvl2pPr marL="457212" indent="0">
              <a:buNone/>
              <a:defRPr sz="1600">
                <a:latin typeface="Arial"/>
                <a:cs typeface="Arial"/>
              </a:defRPr>
            </a:lvl2pPr>
            <a:lvl3pPr marL="914426" indent="0">
              <a:buNone/>
              <a:defRPr sz="1400">
                <a:latin typeface="Arial"/>
                <a:cs typeface="Arial"/>
              </a:defRPr>
            </a:lvl3pPr>
            <a:lvl4pPr marL="1371639" indent="0">
              <a:buNone/>
              <a:defRPr sz="1200">
                <a:latin typeface="Arial"/>
                <a:cs typeface="Arial"/>
              </a:defRPr>
            </a:lvl4pPr>
            <a:lvl5pPr marL="1828851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s-ES_tradnl"/>
              <a:t>Haga clic para modificar autor / fecha</a:t>
            </a:r>
            <a:endParaRPr lang="es-ES"/>
          </a:p>
        </p:txBody>
      </p:sp>
      <p:pic>
        <p:nvPicPr>
          <p:cNvPr id="3" name="Imagen 2" descr="firma_metro_ppt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029" y="2"/>
            <a:ext cx="2018972" cy="195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4830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objeto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393701" y="1018123"/>
            <a:ext cx="5563720" cy="537209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6098126" y="1018119"/>
            <a:ext cx="5638797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6"/>
          </p:nvPr>
        </p:nvSpPr>
        <p:spPr>
          <a:xfrm>
            <a:off x="6098126" y="3549774"/>
            <a:ext cx="5638797" cy="28404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76092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Objetos horizonta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393700" y="1018119"/>
            <a:ext cx="11343216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5"/>
          </p:nvPr>
        </p:nvSpPr>
        <p:spPr>
          <a:xfrm>
            <a:off x="393700" y="3549770"/>
            <a:ext cx="11343216" cy="284044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16688118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fecha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1911821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erre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plantilla_ppt_2016_wide_fondo_logo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6" y="0"/>
            <a:ext cx="1218902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803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fecha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B83AE4B0-EAE3-2F42-A75F-6A607EAC454F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 defTabSz="914426">
                <a:defRPr/>
              </a:pPr>
              <a:t>16/12/2024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0217D490-68AB-204F-891C-4DD422C3F883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 defTabSz="914426"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4390522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02732" y="3429008"/>
            <a:ext cx="6334395" cy="12762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775">
                <a:latin typeface="Arial"/>
                <a:cs typeface="Arial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402729" y="4780778"/>
            <a:ext cx="7905984" cy="1020833"/>
          </a:xfrm>
        </p:spPr>
        <p:txBody>
          <a:bodyPr anchor="t">
            <a:normAutofit/>
          </a:bodyPr>
          <a:lstStyle>
            <a:lvl1pPr marL="0" indent="0" algn="l">
              <a:buNone/>
              <a:defRPr sz="2025">
                <a:solidFill>
                  <a:schemeClr val="tx1"/>
                </a:solidFill>
                <a:latin typeface="Ariel"/>
                <a:cs typeface="Ariel"/>
              </a:defRPr>
            </a:lvl1pPr>
            <a:lvl2pPr marL="457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subtítulo</a:t>
            </a:r>
            <a:endParaRPr lang="es-ES"/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402970" y="5902327"/>
            <a:ext cx="7905751" cy="611188"/>
          </a:xfrm>
        </p:spPr>
        <p:txBody>
          <a:bodyPr>
            <a:noAutofit/>
          </a:bodyPr>
          <a:lstStyle>
            <a:lvl1pPr marL="0" indent="0">
              <a:buNone/>
              <a:defRPr sz="1575">
                <a:latin typeface="Arial"/>
                <a:cs typeface="Arial"/>
              </a:defRPr>
            </a:lvl1pPr>
            <a:lvl2pPr marL="457202" indent="0">
              <a:buNone/>
              <a:defRPr sz="1575">
                <a:latin typeface="Arial"/>
                <a:cs typeface="Arial"/>
              </a:defRPr>
            </a:lvl2pPr>
            <a:lvl3pPr marL="914404" indent="0">
              <a:buNone/>
              <a:defRPr sz="1425">
                <a:latin typeface="Arial"/>
                <a:cs typeface="Arial"/>
              </a:defRPr>
            </a:lvl3pPr>
            <a:lvl4pPr marL="1371606" indent="0">
              <a:buNone/>
              <a:defRPr sz="1200">
                <a:latin typeface="Arial"/>
                <a:cs typeface="Arial"/>
              </a:defRPr>
            </a:lvl4pPr>
            <a:lvl5pPr marL="1828807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s-ES_tradnl"/>
              <a:t>Haga clic para modificar autor / fecha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800051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fecha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6/12/2024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434744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94327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590198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C8611EC-8A13-67DF-BEB9-C3FE411C9F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3168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8611EC-8A13-67DF-BEB9-C3FE411C9F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s-CL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8351605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59B6427B-7119-4741-BCE6-EDEE44A4829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"/>
            <a:ext cx="12192000" cy="6857999"/>
          </a:xfrm>
          <a:prstGeom prst="rect">
            <a:avLst/>
          </a:prstGeom>
        </p:spPr>
      </p:pic>
      <p:pic>
        <p:nvPicPr>
          <p:cNvPr id="3" name="Imagen 2" descr="firma_metro_ppt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029" y="2"/>
            <a:ext cx="2018972" cy="1953845"/>
          </a:xfrm>
          <a:prstGeom prst="rect">
            <a:avLst/>
          </a:prstGeom>
        </p:spPr>
      </p:pic>
      <p:sp>
        <p:nvSpPr>
          <p:cNvPr id="7" name="Título 1"/>
          <p:cNvSpPr>
            <a:spLocks noGrp="1"/>
          </p:cNvSpPr>
          <p:nvPr>
            <p:ph type="ctrTitle"/>
          </p:nvPr>
        </p:nvSpPr>
        <p:spPr>
          <a:xfrm>
            <a:off x="0" y="2756930"/>
            <a:ext cx="12192000" cy="1431745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lIns="180000" tIns="180000" rIns="180000" bIns="180000" anchor="ctr">
            <a:normAutofit/>
          </a:bodyPr>
          <a:lstStyle>
            <a:lvl1pPr algn="ctr">
              <a:spcBef>
                <a:spcPts val="3000"/>
              </a:spcBef>
              <a:defRPr sz="1600">
                <a:solidFill>
                  <a:srgbClr val="FFFFFF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9602028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5DCEEA0-A994-064C-ADE7-5320A680A0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9197" y="903515"/>
            <a:ext cx="11653605" cy="5740088"/>
          </a:xfrm>
          <a:prstGeom prst="rect">
            <a:avLst/>
          </a:prstGeom>
        </p:spPr>
        <p:txBody>
          <a:bodyPr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159615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1F6418A9-4EAC-420D-9862-6C8F3F54EF4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84" cy="6858000"/>
          </a:xfrm>
          <a:prstGeom prst="rect">
            <a:avLst/>
          </a:prstGeom>
        </p:spPr>
      </p:pic>
      <p:sp>
        <p:nvSpPr>
          <p:cNvPr id="5" name="Título 1"/>
          <p:cNvSpPr>
            <a:spLocks noGrp="1"/>
          </p:cNvSpPr>
          <p:nvPr>
            <p:ph type="ctrTitle"/>
          </p:nvPr>
        </p:nvSpPr>
        <p:spPr>
          <a:xfrm>
            <a:off x="-593" y="4165883"/>
            <a:ext cx="7152713" cy="697636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lIns="360000" anchor="ctr">
            <a:noAutofit/>
          </a:bodyPr>
          <a:lstStyle>
            <a:lvl1pPr algn="l">
              <a:defRPr sz="1800">
                <a:solidFill>
                  <a:srgbClr val="FFFFFF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7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" y="5080846"/>
            <a:ext cx="6338244" cy="575883"/>
          </a:xfrm>
          <a:solidFill>
            <a:schemeClr val="tx1">
              <a:alpha val="50000"/>
            </a:schemeClr>
          </a:solidFill>
          <a:ln>
            <a:noFill/>
          </a:ln>
        </p:spPr>
        <p:txBody>
          <a:bodyPr lIns="360000" anchor="ctr">
            <a:norm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Gotham" panose="02000604030000020004" pitchFamily="50" charset="0"/>
                <a:cs typeface="Gotham" panose="02000604030000020004" pitchFamily="50" charset="0"/>
              </a:defRPr>
            </a:lvl1pPr>
            <a:lvl2pPr marL="4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subtítulo</a:t>
            </a:r>
            <a:endParaRPr lang="es-ES"/>
          </a:p>
        </p:txBody>
      </p:sp>
      <p:sp>
        <p:nvSpPr>
          <p:cNvPr id="8" name="Marcador de texto 10"/>
          <p:cNvSpPr>
            <a:spLocks noGrp="1"/>
          </p:cNvSpPr>
          <p:nvPr>
            <p:ph type="body" sz="quarter" idx="11" hasCustomPrompt="1"/>
          </p:nvPr>
        </p:nvSpPr>
        <p:spPr>
          <a:xfrm>
            <a:off x="21" y="5919979"/>
            <a:ext cx="4298255" cy="459471"/>
          </a:xfrm>
          <a:solidFill>
            <a:schemeClr val="tx1">
              <a:alpha val="50000"/>
            </a:schemeClr>
          </a:solidFill>
          <a:ln>
            <a:noFill/>
          </a:ln>
        </p:spPr>
        <p:txBody>
          <a:bodyPr lIns="360000" anchor="ctr">
            <a:noAutofit/>
          </a:bodyPr>
          <a:lstStyle>
            <a:lvl1pPr marL="0" indent="0">
              <a:buNone/>
              <a:defRPr sz="1101">
                <a:solidFill>
                  <a:srgbClr val="FFFFFF"/>
                </a:solidFill>
                <a:latin typeface="Gotham" panose="02000604030000020004" pitchFamily="50" charset="0"/>
                <a:cs typeface="Arial"/>
              </a:defRPr>
            </a:lvl1pPr>
            <a:lvl2pPr marL="457212" indent="0">
              <a:buNone/>
              <a:defRPr sz="1600">
                <a:latin typeface="Arial"/>
                <a:cs typeface="Arial"/>
              </a:defRPr>
            </a:lvl2pPr>
            <a:lvl3pPr marL="914426" indent="0">
              <a:buNone/>
              <a:defRPr sz="1400">
                <a:latin typeface="Arial"/>
                <a:cs typeface="Arial"/>
              </a:defRPr>
            </a:lvl3pPr>
            <a:lvl4pPr marL="1371639" indent="0">
              <a:buNone/>
              <a:defRPr sz="1200">
                <a:latin typeface="Arial"/>
                <a:cs typeface="Arial"/>
              </a:defRPr>
            </a:lvl4pPr>
            <a:lvl5pPr marL="1828851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s-ES_tradnl"/>
              <a:t>Haga clic para modificar autor / fecha</a:t>
            </a:r>
            <a:endParaRPr lang="es-ES"/>
          </a:p>
        </p:txBody>
      </p:sp>
      <p:pic>
        <p:nvPicPr>
          <p:cNvPr id="3" name="Imagen 2" descr="firma_metro_ppt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029" y="2"/>
            <a:ext cx="2018972" cy="195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0561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59B6427B-7119-4741-BCE6-EDEE44A4829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"/>
            <a:ext cx="12192000" cy="6857999"/>
          </a:xfrm>
          <a:prstGeom prst="rect">
            <a:avLst/>
          </a:prstGeom>
        </p:spPr>
      </p:pic>
      <p:pic>
        <p:nvPicPr>
          <p:cNvPr id="3" name="Imagen 2" descr="firma_metro_ppt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029" y="2"/>
            <a:ext cx="2018972" cy="1953845"/>
          </a:xfrm>
          <a:prstGeom prst="rect">
            <a:avLst/>
          </a:prstGeom>
        </p:spPr>
      </p:pic>
      <p:sp>
        <p:nvSpPr>
          <p:cNvPr id="7" name="Título 1"/>
          <p:cNvSpPr>
            <a:spLocks noGrp="1"/>
          </p:cNvSpPr>
          <p:nvPr>
            <p:ph type="ctrTitle"/>
          </p:nvPr>
        </p:nvSpPr>
        <p:spPr>
          <a:xfrm>
            <a:off x="0" y="2756930"/>
            <a:ext cx="12192000" cy="1431745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lIns="180000" tIns="180000" rIns="180000" bIns="180000" anchor="ctr">
            <a:normAutofit/>
          </a:bodyPr>
          <a:lstStyle>
            <a:lvl1pPr algn="ctr">
              <a:spcBef>
                <a:spcPts val="3000"/>
              </a:spcBef>
              <a:defRPr sz="1600">
                <a:solidFill>
                  <a:srgbClr val="FFFFFF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80382744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745CE152-3069-46F8-91C3-77BF74AB05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84" cy="6858000"/>
          </a:xfrm>
          <a:prstGeom prst="rect">
            <a:avLst/>
          </a:prstGeom>
        </p:spPr>
      </p:pic>
      <p:pic>
        <p:nvPicPr>
          <p:cNvPr id="3" name="Imagen 2" descr="firma_metro_ppt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029" y="2"/>
            <a:ext cx="2018972" cy="1953845"/>
          </a:xfrm>
          <a:prstGeom prst="rect">
            <a:avLst/>
          </a:prstGeom>
        </p:spPr>
      </p:pic>
      <p:sp>
        <p:nvSpPr>
          <p:cNvPr id="4" name="Marcador de tex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" y="0"/>
            <a:ext cx="4959349" cy="6858000"/>
          </a:xfrm>
          <a:solidFill>
            <a:schemeClr val="tx1">
              <a:alpha val="50000"/>
            </a:schemeClr>
          </a:solidFill>
          <a:ln>
            <a:noFill/>
          </a:ln>
        </p:spPr>
        <p:txBody>
          <a:bodyPr vert="horz" lIns="360000" tIns="216000" rIns="216000" bIns="216000" rtlCol="0" anchor="t" anchorCtr="0">
            <a:normAutofit/>
          </a:bodyPr>
          <a:lstStyle>
            <a:lvl1pPr marL="342911" indent="-342911">
              <a:buFont typeface="+mj-lt"/>
              <a:buAutoNum type="arabicPeriod"/>
              <a:defRPr lang="es-ES_tradnl" sz="1600" b="0" smtClean="0">
                <a:solidFill>
                  <a:srgbClr val="FFFFFF"/>
                </a:solidFill>
                <a:ea typeface="+mj-ea"/>
              </a:defRPr>
            </a:lvl1pPr>
            <a:lvl2pPr marL="800122" indent="-342911">
              <a:buFont typeface="+mj-lt"/>
              <a:buAutoNum type="arabicPeriod"/>
              <a:defRPr lang="es-ES_tradnl" sz="1400" smtClean="0">
                <a:solidFill>
                  <a:srgbClr val="FFFFFF"/>
                </a:solidFill>
              </a:defRPr>
            </a:lvl2pPr>
            <a:lvl3pPr marL="1143033" indent="-228606">
              <a:buFont typeface="+mj-lt"/>
              <a:buAutoNum type="arabicPeriod"/>
              <a:defRPr lang="es-ES_tradnl" sz="1200" smtClean="0">
                <a:solidFill>
                  <a:srgbClr val="FFFFFF"/>
                </a:solidFill>
              </a:defRPr>
            </a:lvl3pPr>
            <a:lvl4pPr marL="1600245" indent="-228606">
              <a:buFont typeface="+mj-lt"/>
              <a:buAutoNum type="arabicPeriod"/>
              <a:defRPr lang="es-ES_tradnl" sz="1101" smtClean="0">
                <a:solidFill>
                  <a:srgbClr val="FFFFFF"/>
                </a:solidFill>
              </a:defRPr>
            </a:lvl4pPr>
            <a:lvl5pPr marL="2057457" indent="-228606">
              <a:buFont typeface="+mj-lt"/>
              <a:buAutoNum type="arabicPeriod"/>
              <a:defRPr lang="es-ES" sz="1101">
                <a:solidFill>
                  <a:srgbClr val="FFFFFF"/>
                </a:solidFill>
              </a:defRPr>
            </a:lvl5pPr>
          </a:lstStyle>
          <a:p>
            <a:pPr lvl="0">
              <a:lnSpc>
                <a:spcPct val="90000"/>
              </a:lnSpc>
              <a:spcBef>
                <a:spcPts val="3000"/>
              </a:spcBef>
              <a:buNone/>
            </a:pPr>
            <a:r>
              <a:rPr lang="es-ES_tradnl"/>
              <a:t>Haga clic para modificar el índice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016800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ill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D19FC47E-3EE3-443E-AC43-52BF65859AE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"/>
            <a:ext cx="12192000" cy="6857999"/>
          </a:xfrm>
          <a:prstGeom prst="rect">
            <a:avLst/>
          </a:prstGeom>
        </p:spPr>
      </p:pic>
      <p:sp>
        <p:nvSpPr>
          <p:cNvPr id="5" name="Título 1"/>
          <p:cNvSpPr>
            <a:spLocks noGrp="1"/>
          </p:cNvSpPr>
          <p:nvPr>
            <p:ph type="ctrTitle"/>
          </p:nvPr>
        </p:nvSpPr>
        <p:spPr>
          <a:xfrm>
            <a:off x="7" y="3003224"/>
            <a:ext cx="12191996" cy="1001843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vert="horz" lIns="180000" tIns="180000" rIns="180000" bIns="180000" rtlCol="0" anchor="ctr">
            <a:normAutofit/>
          </a:bodyPr>
          <a:lstStyle>
            <a:lvl1pPr>
              <a:defRPr lang="es-ES" sz="1600" dirty="0">
                <a:solidFill>
                  <a:srgbClr val="FFFFFF"/>
                </a:solidFill>
              </a:defRPr>
            </a:lvl1pPr>
          </a:lstStyle>
          <a:p>
            <a:pPr lvl="0" algn="ctr">
              <a:spcBef>
                <a:spcPts val="3000"/>
              </a:spcBef>
            </a:pPr>
            <a:r>
              <a:rPr lang="es-ES"/>
              <a:t>Haga clic para modificar el estilo de título del patrón</a:t>
            </a:r>
          </a:p>
        </p:txBody>
      </p:sp>
      <p:pic>
        <p:nvPicPr>
          <p:cNvPr id="3" name="Imagen 2" descr="firma_metro_ppt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029" y="2"/>
            <a:ext cx="2018972" cy="195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1863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ill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853FDDBC-0539-40C2-89B4-9CFAE078F6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84" cy="6858000"/>
          </a:xfrm>
          <a:prstGeom prst="rect">
            <a:avLst/>
          </a:prstGeom>
        </p:spPr>
      </p:pic>
      <p:sp>
        <p:nvSpPr>
          <p:cNvPr id="5" name="Título 1"/>
          <p:cNvSpPr>
            <a:spLocks noGrp="1"/>
          </p:cNvSpPr>
          <p:nvPr>
            <p:ph type="ctrTitle"/>
          </p:nvPr>
        </p:nvSpPr>
        <p:spPr>
          <a:xfrm>
            <a:off x="7" y="4700457"/>
            <a:ext cx="12191997" cy="1344744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lIns="360000" tIns="90000" bIns="90000" anchor="ctr">
            <a:normAutofit/>
          </a:bodyPr>
          <a:lstStyle>
            <a:lvl1pPr algn="l">
              <a:spcBef>
                <a:spcPts val="3000"/>
              </a:spcBef>
              <a:defRPr sz="1600">
                <a:solidFill>
                  <a:srgbClr val="FFFFFF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pic>
        <p:nvPicPr>
          <p:cNvPr id="3" name="Imagen 2" descr="firma_metro_ppt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029" y="2"/>
            <a:ext cx="2018972" cy="195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554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pag comple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contenido 8"/>
          <p:cNvSpPr>
            <a:spLocks noGrp="1"/>
          </p:cNvSpPr>
          <p:nvPr>
            <p:ph sz="quarter" idx="10"/>
          </p:nvPr>
        </p:nvSpPr>
        <p:spPr>
          <a:xfrm>
            <a:off x="393706" y="698505"/>
            <a:ext cx="11343217" cy="5691717"/>
          </a:xfrm>
        </p:spPr>
        <p:txBody>
          <a:bodyPr>
            <a:normAutofit/>
          </a:bodyPr>
          <a:lstStyle>
            <a:lvl1pPr>
              <a:defRPr sz="1200">
                <a:latin typeface="Gotham" panose="02000604030000020004" pitchFamily="50" charset="0"/>
              </a:defRPr>
            </a:lvl1pPr>
            <a:lvl2pPr>
              <a:defRPr sz="1101">
                <a:latin typeface="Gotham" panose="02000604030000020004" pitchFamily="50" charset="0"/>
              </a:defRPr>
            </a:lvl2pPr>
            <a:lvl3pPr>
              <a:defRPr sz="1051">
                <a:latin typeface="Gotham" panose="02000604030000020004" pitchFamily="50" charset="0"/>
              </a:defRPr>
            </a:lvl3pPr>
            <a:lvl4pPr>
              <a:defRPr sz="1000">
                <a:latin typeface="Gotham" panose="02000604030000020004" pitchFamily="50" charset="0"/>
              </a:defRPr>
            </a:lvl4pPr>
            <a:lvl5pPr>
              <a:defRPr sz="1000">
                <a:latin typeface="Gotham" panose="02000604030000020004" pitchFamily="50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2" name="Marcador de fecha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>
                <a:latin typeface="Gotham" panose="02000604030000020004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198153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393701" y="1018120"/>
            <a:ext cx="5384800" cy="53721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096000" y="1018120"/>
            <a:ext cx="5384800" cy="53721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7" name="Títul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340626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393701" y="1018119"/>
            <a:ext cx="5563720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6098126" y="1018119"/>
            <a:ext cx="5638797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9" name="Marcador de contenido 18"/>
          <p:cNvSpPr>
            <a:spLocks noGrp="1"/>
          </p:cNvSpPr>
          <p:nvPr>
            <p:ph sz="quarter" idx="15"/>
          </p:nvPr>
        </p:nvSpPr>
        <p:spPr>
          <a:xfrm>
            <a:off x="393708" y="3560631"/>
            <a:ext cx="11343213" cy="282959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21" name="Título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9863048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393701" y="1018119"/>
            <a:ext cx="5563720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6098126" y="1018119"/>
            <a:ext cx="5638797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5"/>
          </p:nvPr>
        </p:nvSpPr>
        <p:spPr>
          <a:xfrm>
            <a:off x="393701" y="3614904"/>
            <a:ext cx="5563720" cy="277531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6"/>
          </p:nvPr>
        </p:nvSpPr>
        <p:spPr>
          <a:xfrm>
            <a:off x="6098126" y="3614904"/>
            <a:ext cx="5638797" cy="277531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8171520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745CE152-3069-46F8-91C3-77BF74AB05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84" cy="6858000"/>
          </a:xfrm>
          <a:prstGeom prst="rect">
            <a:avLst/>
          </a:prstGeom>
        </p:spPr>
      </p:pic>
      <p:pic>
        <p:nvPicPr>
          <p:cNvPr id="3" name="Imagen 2" descr="firma_metro_ppt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029" y="2"/>
            <a:ext cx="2018972" cy="1953845"/>
          </a:xfrm>
          <a:prstGeom prst="rect">
            <a:avLst/>
          </a:prstGeom>
        </p:spPr>
      </p:pic>
      <p:sp>
        <p:nvSpPr>
          <p:cNvPr id="4" name="Marcador de tex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" y="0"/>
            <a:ext cx="4959349" cy="6858000"/>
          </a:xfrm>
          <a:solidFill>
            <a:schemeClr val="tx1">
              <a:alpha val="50000"/>
            </a:schemeClr>
          </a:solidFill>
          <a:ln>
            <a:noFill/>
          </a:ln>
        </p:spPr>
        <p:txBody>
          <a:bodyPr vert="horz" lIns="360000" tIns="216000" rIns="216000" bIns="216000" rtlCol="0" anchor="t" anchorCtr="0">
            <a:normAutofit/>
          </a:bodyPr>
          <a:lstStyle>
            <a:lvl1pPr marL="342911" indent="-342911">
              <a:buFont typeface="+mj-lt"/>
              <a:buAutoNum type="arabicPeriod"/>
              <a:defRPr lang="es-ES_tradnl" sz="1600" b="0" smtClean="0">
                <a:solidFill>
                  <a:srgbClr val="FFFFFF"/>
                </a:solidFill>
                <a:ea typeface="+mj-ea"/>
              </a:defRPr>
            </a:lvl1pPr>
            <a:lvl2pPr marL="800122" indent="-342911">
              <a:buFont typeface="+mj-lt"/>
              <a:buAutoNum type="arabicPeriod"/>
              <a:defRPr lang="es-ES_tradnl" sz="1400" smtClean="0">
                <a:solidFill>
                  <a:srgbClr val="FFFFFF"/>
                </a:solidFill>
              </a:defRPr>
            </a:lvl2pPr>
            <a:lvl3pPr marL="1143033" indent="-228606">
              <a:buFont typeface="+mj-lt"/>
              <a:buAutoNum type="arabicPeriod"/>
              <a:defRPr lang="es-ES_tradnl" sz="1200" smtClean="0">
                <a:solidFill>
                  <a:srgbClr val="FFFFFF"/>
                </a:solidFill>
              </a:defRPr>
            </a:lvl3pPr>
            <a:lvl4pPr marL="1600245" indent="-228606">
              <a:buFont typeface="+mj-lt"/>
              <a:buAutoNum type="arabicPeriod"/>
              <a:defRPr lang="es-ES_tradnl" sz="1101" smtClean="0">
                <a:solidFill>
                  <a:srgbClr val="FFFFFF"/>
                </a:solidFill>
              </a:defRPr>
            </a:lvl4pPr>
            <a:lvl5pPr marL="2057457" indent="-228606">
              <a:buFont typeface="+mj-lt"/>
              <a:buAutoNum type="arabicPeriod"/>
              <a:defRPr lang="es-ES" sz="1101">
                <a:solidFill>
                  <a:srgbClr val="FFFFFF"/>
                </a:solidFill>
              </a:defRPr>
            </a:lvl5pPr>
          </a:lstStyle>
          <a:p>
            <a:pPr lvl="0">
              <a:lnSpc>
                <a:spcPct val="90000"/>
              </a:lnSpc>
              <a:spcBef>
                <a:spcPts val="3000"/>
              </a:spcBef>
              <a:buNone/>
            </a:pPr>
            <a:r>
              <a:rPr lang="es-ES_tradnl"/>
              <a:t>Haga clic para modificar el índice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108715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objeto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393701" y="1018123"/>
            <a:ext cx="5563720" cy="537209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6098126" y="1018119"/>
            <a:ext cx="5638797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6"/>
          </p:nvPr>
        </p:nvSpPr>
        <p:spPr>
          <a:xfrm>
            <a:off x="6098126" y="3549774"/>
            <a:ext cx="5638797" cy="28404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9495158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Objetos horizonta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393700" y="1018119"/>
            <a:ext cx="11343216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5"/>
          </p:nvPr>
        </p:nvSpPr>
        <p:spPr>
          <a:xfrm>
            <a:off x="393700" y="3549770"/>
            <a:ext cx="11343216" cy="284044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168456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fecha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9553809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erre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plantilla_ppt_2016_wide_fondo_logo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6" y="0"/>
            <a:ext cx="1218902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5982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fecha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B83AE4B0-EAE3-2F42-A75F-6A607EAC454F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 defTabSz="914426">
                <a:defRPr/>
              </a:pPr>
              <a:t>16/12/2024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0217D490-68AB-204F-891C-4DD422C3F883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 defTabSz="914426"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271918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02732" y="3429008"/>
            <a:ext cx="6334395" cy="12762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775">
                <a:latin typeface="Arial"/>
                <a:cs typeface="Arial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402729" y="4780778"/>
            <a:ext cx="7905984" cy="1020833"/>
          </a:xfrm>
        </p:spPr>
        <p:txBody>
          <a:bodyPr anchor="t">
            <a:normAutofit/>
          </a:bodyPr>
          <a:lstStyle>
            <a:lvl1pPr marL="0" indent="0" algn="l">
              <a:buNone/>
              <a:defRPr sz="2025">
                <a:solidFill>
                  <a:schemeClr val="tx1"/>
                </a:solidFill>
                <a:latin typeface="Ariel"/>
                <a:cs typeface="Ariel"/>
              </a:defRPr>
            </a:lvl1pPr>
            <a:lvl2pPr marL="457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subtítulo</a:t>
            </a:r>
            <a:endParaRPr lang="es-ES"/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402970" y="5902327"/>
            <a:ext cx="7905751" cy="611188"/>
          </a:xfrm>
        </p:spPr>
        <p:txBody>
          <a:bodyPr>
            <a:noAutofit/>
          </a:bodyPr>
          <a:lstStyle>
            <a:lvl1pPr marL="0" indent="0">
              <a:buNone/>
              <a:defRPr sz="1575">
                <a:latin typeface="Arial"/>
                <a:cs typeface="Arial"/>
              </a:defRPr>
            </a:lvl1pPr>
            <a:lvl2pPr marL="457202" indent="0">
              <a:buNone/>
              <a:defRPr sz="1575">
                <a:latin typeface="Arial"/>
                <a:cs typeface="Arial"/>
              </a:defRPr>
            </a:lvl2pPr>
            <a:lvl3pPr marL="914404" indent="0">
              <a:buNone/>
              <a:defRPr sz="1425">
                <a:latin typeface="Arial"/>
                <a:cs typeface="Arial"/>
              </a:defRPr>
            </a:lvl3pPr>
            <a:lvl4pPr marL="1371606" indent="0">
              <a:buNone/>
              <a:defRPr sz="1200">
                <a:latin typeface="Arial"/>
                <a:cs typeface="Arial"/>
              </a:defRPr>
            </a:lvl4pPr>
            <a:lvl5pPr marL="1828807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s-ES_tradnl"/>
              <a:t>Haga clic para modificar autor / fecha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094738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fecha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6/12/2024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41899781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1F6418A9-4EAC-420D-9862-6C8F3F54EF4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84" cy="6858000"/>
          </a:xfrm>
          <a:prstGeom prst="rect">
            <a:avLst/>
          </a:prstGeom>
        </p:spPr>
      </p:pic>
      <p:sp>
        <p:nvSpPr>
          <p:cNvPr id="5" name="Título 1"/>
          <p:cNvSpPr>
            <a:spLocks noGrp="1"/>
          </p:cNvSpPr>
          <p:nvPr>
            <p:ph type="ctrTitle"/>
          </p:nvPr>
        </p:nvSpPr>
        <p:spPr>
          <a:xfrm>
            <a:off x="-593" y="4165883"/>
            <a:ext cx="7152713" cy="697636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lIns="360000" anchor="ctr">
            <a:noAutofit/>
          </a:bodyPr>
          <a:lstStyle>
            <a:lvl1pPr algn="l">
              <a:defRPr sz="1800">
                <a:solidFill>
                  <a:srgbClr val="FFFFFF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7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3" y="5080846"/>
            <a:ext cx="6338244" cy="575883"/>
          </a:xfrm>
          <a:solidFill>
            <a:schemeClr val="tx1">
              <a:alpha val="50000"/>
            </a:schemeClr>
          </a:solidFill>
          <a:ln>
            <a:noFill/>
          </a:ln>
        </p:spPr>
        <p:txBody>
          <a:bodyPr lIns="360000" anchor="ctr">
            <a:norm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Gotham" panose="02000604030000020004" pitchFamily="50" charset="0"/>
                <a:cs typeface="Gotham" panose="02000604030000020004" pitchFamily="50" charset="0"/>
              </a:defRPr>
            </a:lvl1pPr>
            <a:lvl2pPr marL="4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7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subtítulo</a:t>
            </a:r>
            <a:endParaRPr lang="es-ES"/>
          </a:p>
        </p:txBody>
      </p:sp>
      <p:sp>
        <p:nvSpPr>
          <p:cNvPr id="8" name="Marcador de texto 10"/>
          <p:cNvSpPr>
            <a:spLocks noGrp="1"/>
          </p:cNvSpPr>
          <p:nvPr>
            <p:ph type="body" sz="quarter" idx="11" hasCustomPrompt="1"/>
          </p:nvPr>
        </p:nvSpPr>
        <p:spPr>
          <a:xfrm>
            <a:off x="21" y="5919979"/>
            <a:ext cx="4298255" cy="459471"/>
          </a:xfrm>
          <a:solidFill>
            <a:schemeClr val="tx1">
              <a:alpha val="50000"/>
            </a:schemeClr>
          </a:solidFill>
          <a:ln>
            <a:noFill/>
          </a:ln>
        </p:spPr>
        <p:txBody>
          <a:bodyPr lIns="360000" anchor="ctr">
            <a:noAutofit/>
          </a:bodyPr>
          <a:lstStyle>
            <a:lvl1pPr marL="0" indent="0">
              <a:buNone/>
              <a:defRPr sz="1101">
                <a:solidFill>
                  <a:srgbClr val="FFFFFF"/>
                </a:solidFill>
                <a:latin typeface="Gotham" panose="02000604030000020004" pitchFamily="50" charset="0"/>
                <a:cs typeface="Arial"/>
              </a:defRPr>
            </a:lvl1pPr>
            <a:lvl2pPr marL="457212" indent="0">
              <a:buNone/>
              <a:defRPr sz="1600">
                <a:latin typeface="Arial"/>
                <a:cs typeface="Arial"/>
              </a:defRPr>
            </a:lvl2pPr>
            <a:lvl3pPr marL="914426" indent="0">
              <a:buNone/>
              <a:defRPr sz="1400">
                <a:latin typeface="Arial"/>
                <a:cs typeface="Arial"/>
              </a:defRPr>
            </a:lvl3pPr>
            <a:lvl4pPr marL="1371639" indent="0">
              <a:buNone/>
              <a:defRPr sz="1200">
                <a:latin typeface="Arial"/>
                <a:cs typeface="Arial"/>
              </a:defRPr>
            </a:lvl4pPr>
            <a:lvl5pPr marL="1828851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s-ES_tradnl"/>
              <a:t>Haga clic para modificar autor / fecha</a:t>
            </a:r>
            <a:endParaRPr lang="es-ES"/>
          </a:p>
        </p:txBody>
      </p:sp>
      <p:pic>
        <p:nvPicPr>
          <p:cNvPr id="3" name="Imagen 2" descr="firma_metro_ppt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029" y="2"/>
            <a:ext cx="2018972" cy="195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6593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59B6427B-7119-4741-BCE6-EDEE44A4829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"/>
            <a:ext cx="12192000" cy="6857999"/>
          </a:xfrm>
          <a:prstGeom prst="rect">
            <a:avLst/>
          </a:prstGeom>
        </p:spPr>
      </p:pic>
      <p:pic>
        <p:nvPicPr>
          <p:cNvPr id="3" name="Imagen 2" descr="firma_metro_ppt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029" y="2"/>
            <a:ext cx="2018972" cy="1953845"/>
          </a:xfrm>
          <a:prstGeom prst="rect">
            <a:avLst/>
          </a:prstGeom>
        </p:spPr>
      </p:pic>
      <p:sp>
        <p:nvSpPr>
          <p:cNvPr id="7" name="Título 1"/>
          <p:cNvSpPr>
            <a:spLocks noGrp="1"/>
          </p:cNvSpPr>
          <p:nvPr>
            <p:ph type="ctrTitle"/>
          </p:nvPr>
        </p:nvSpPr>
        <p:spPr>
          <a:xfrm>
            <a:off x="0" y="2756930"/>
            <a:ext cx="12192000" cy="1431745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lIns="180000" tIns="180000" rIns="180000" bIns="180000" anchor="ctr">
            <a:normAutofit/>
          </a:bodyPr>
          <a:lstStyle>
            <a:lvl1pPr algn="ctr">
              <a:spcBef>
                <a:spcPts val="3000"/>
              </a:spcBef>
              <a:defRPr sz="1600">
                <a:solidFill>
                  <a:srgbClr val="FFFFFF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135738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745CE152-3069-46F8-91C3-77BF74AB05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84" cy="6858000"/>
          </a:xfrm>
          <a:prstGeom prst="rect">
            <a:avLst/>
          </a:prstGeom>
        </p:spPr>
      </p:pic>
      <p:pic>
        <p:nvPicPr>
          <p:cNvPr id="3" name="Imagen 2" descr="firma_metro_ppt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029" y="2"/>
            <a:ext cx="2018972" cy="1953845"/>
          </a:xfrm>
          <a:prstGeom prst="rect">
            <a:avLst/>
          </a:prstGeom>
        </p:spPr>
      </p:pic>
      <p:sp>
        <p:nvSpPr>
          <p:cNvPr id="4" name="Marcador de texto 3"/>
          <p:cNvSpPr>
            <a:spLocks noGrp="1"/>
          </p:cNvSpPr>
          <p:nvPr>
            <p:ph type="body" sz="quarter" idx="10" hasCustomPrompt="1"/>
          </p:nvPr>
        </p:nvSpPr>
        <p:spPr>
          <a:xfrm>
            <a:off x="2" y="0"/>
            <a:ext cx="4959349" cy="6858000"/>
          </a:xfrm>
          <a:solidFill>
            <a:schemeClr val="tx1">
              <a:alpha val="50000"/>
            </a:schemeClr>
          </a:solidFill>
          <a:ln>
            <a:noFill/>
          </a:ln>
        </p:spPr>
        <p:txBody>
          <a:bodyPr vert="horz" lIns="360000" tIns="216000" rIns="216000" bIns="216000" rtlCol="0" anchor="t" anchorCtr="0">
            <a:normAutofit/>
          </a:bodyPr>
          <a:lstStyle>
            <a:lvl1pPr marL="342911" indent="-342911">
              <a:buFont typeface="+mj-lt"/>
              <a:buAutoNum type="arabicPeriod"/>
              <a:defRPr lang="es-ES_tradnl" sz="1600" b="0" smtClean="0">
                <a:solidFill>
                  <a:srgbClr val="FFFFFF"/>
                </a:solidFill>
                <a:ea typeface="+mj-ea"/>
              </a:defRPr>
            </a:lvl1pPr>
            <a:lvl2pPr marL="800122" indent="-342911">
              <a:buFont typeface="+mj-lt"/>
              <a:buAutoNum type="arabicPeriod"/>
              <a:defRPr lang="es-ES_tradnl" sz="1400" smtClean="0">
                <a:solidFill>
                  <a:srgbClr val="FFFFFF"/>
                </a:solidFill>
              </a:defRPr>
            </a:lvl2pPr>
            <a:lvl3pPr marL="1143033" indent="-228606">
              <a:buFont typeface="+mj-lt"/>
              <a:buAutoNum type="arabicPeriod"/>
              <a:defRPr lang="es-ES_tradnl" sz="1200" smtClean="0">
                <a:solidFill>
                  <a:srgbClr val="FFFFFF"/>
                </a:solidFill>
              </a:defRPr>
            </a:lvl3pPr>
            <a:lvl4pPr marL="1600245" indent="-228606">
              <a:buFont typeface="+mj-lt"/>
              <a:buAutoNum type="arabicPeriod"/>
              <a:defRPr lang="es-ES_tradnl" sz="1101" smtClean="0">
                <a:solidFill>
                  <a:srgbClr val="FFFFFF"/>
                </a:solidFill>
              </a:defRPr>
            </a:lvl4pPr>
            <a:lvl5pPr marL="2057457" indent="-228606">
              <a:buFont typeface="+mj-lt"/>
              <a:buAutoNum type="arabicPeriod"/>
              <a:defRPr lang="es-ES" sz="1101">
                <a:solidFill>
                  <a:srgbClr val="FFFFFF"/>
                </a:solidFill>
              </a:defRPr>
            </a:lvl5pPr>
          </a:lstStyle>
          <a:p>
            <a:pPr lvl="0">
              <a:lnSpc>
                <a:spcPct val="90000"/>
              </a:lnSpc>
              <a:spcBef>
                <a:spcPts val="3000"/>
              </a:spcBef>
              <a:buNone/>
            </a:pPr>
            <a:r>
              <a:rPr lang="es-ES_tradnl"/>
              <a:t>Haga clic para modificar el índice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256511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ill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D19FC47E-3EE3-443E-AC43-52BF65859AE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"/>
            <a:ext cx="12192000" cy="6857999"/>
          </a:xfrm>
          <a:prstGeom prst="rect">
            <a:avLst/>
          </a:prstGeom>
        </p:spPr>
      </p:pic>
      <p:sp>
        <p:nvSpPr>
          <p:cNvPr id="5" name="Título 1"/>
          <p:cNvSpPr>
            <a:spLocks noGrp="1"/>
          </p:cNvSpPr>
          <p:nvPr>
            <p:ph type="ctrTitle"/>
          </p:nvPr>
        </p:nvSpPr>
        <p:spPr>
          <a:xfrm>
            <a:off x="7" y="3003224"/>
            <a:ext cx="12191996" cy="1001843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vert="horz" lIns="180000" tIns="180000" rIns="180000" bIns="180000" rtlCol="0" anchor="ctr">
            <a:normAutofit/>
          </a:bodyPr>
          <a:lstStyle>
            <a:lvl1pPr>
              <a:defRPr lang="es-ES" sz="1600" dirty="0">
                <a:solidFill>
                  <a:srgbClr val="FFFFFF"/>
                </a:solidFill>
              </a:defRPr>
            </a:lvl1pPr>
          </a:lstStyle>
          <a:p>
            <a:pPr lvl="0" algn="ctr">
              <a:spcBef>
                <a:spcPts val="3000"/>
              </a:spcBef>
            </a:pPr>
            <a:r>
              <a:rPr lang="es-ES"/>
              <a:t>Haga clic para modificar el estilo de título del patrón</a:t>
            </a:r>
          </a:p>
        </p:txBody>
      </p:sp>
      <p:pic>
        <p:nvPicPr>
          <p:cNvPr id="3" name="Imagen 2" descr="firma_metro_ppt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029" y="2"/>
            <a:ext cx="2018972" cy="195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0747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ill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D19FC47E-3EE3-443E-AC43-52BF65859AE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"/>
            <a:ext cx="12192000" cy="6857999"/>
          </a:xfrm>
          <a:prstGeom prst="rect">
            <a:avLst/>
          </a:prstGeom>
        </p:spPr>
      </p:pic>
      <p:sp>
        <p:nvSpPr>
          <p:cNvPr id="5" name="Título 1"/>
          <p:cNvSpPr>
            <a:spLocks noGrp="1"/>
          </p:cNvSpPr>
          <p:nvPr>
            <p:ph type="ctrTitle"/>
          </p:nvPr>
        </p:nvSpPr>
        <p:spPr>
          <a:xfrm>
            <a:off x="7" y="3003224"/>
            <a:ext cx="12191996" cy="1001843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vert="horz" lIns="180000" tIns="180000" rIns="180000" bIns="180000" rtlCol="0" anchor="ctr">
            <a:normAutofit/>
          </a:bodyPr>
          <a:lstStyle>
            <a:lvl1pPr>
              <a:defRPr lang="es-ES" sz="1600" dirty="0">
                <a:solidFill>
                  <a:srgbClr val="FFFFFF"/>
                </a:solidFill>
              </a:defRPr>
            </a:lvl1pPr>
          </a:lstStyle>
          <a:p>
            <a:pPr lvl="0" algn="ctr">
              <a:spcBef>
                <a:spcPts val="3000"/>
              </a:spcBef>
            </a:pPr>
            <a:r>
              <a:rPr lang="es-ES"/>
              <a:t>Haga clic para modificar el estilo de título del patrón</a:t>
            </a:r>
          </a:p>
        </p:txBody>
      </p:sp>
      <p:pic>
        <p:nvPicPr>
          <p:cNvPr id="3" name="Imagen 2" descr="firma_metro_ppt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029" y="2"/>
            <a:ext cx="2018972" cy="195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4917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ill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853FDDBC-0539-40C2-89B4-9CFAE078F6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84" cy="6858000"/>
          </a:xfrm>
          <a:prstGeom prst="rect">
            <a:avLst/>
          </a:prstGeom>
        </p:spPr>
      </p:pic>
      <p:sp>
        <p:nvSpPr>
          <p:cNvPr id="5" name="Título 1"/>
          <p:cNvSpPr>
            <a:spLocks noGrp="1"/>
          </p:cNvSpPr>
          <p:nvPr>
            <p:ph type="ctrTitle"/>
          </p:nvPr>
        </p:nvSpPr>
        <p:spPr>
          <a:xfrm>
            <a:off x="7" y="4700457"/>
            <a:ext cx="12191997" cy="1344744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lIns="360000" tIns="90000" bIns="90000" anchor="ctr">
            <a:normAutofit/>
          </a:bodyPr>
          <a:lstStyle>
            <a:lvl1pPr algn="l">
              <a:spcBef>
                <a:spcPts val="3000"/>
              </a:spcBef>
              <a:defRPr sz="1600">
                <a:solidFill>
                  <a:srgbClr val="FFFFFF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pic>
        <p:nvPicPr>
          <p:cNvPr id="3" name="Imagen 2" descr="firma_metro_ppt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029" y="2"/>
            <a:ext cx="2018972" cy="195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90614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pag comple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contenido 8"/>
          <p:cNvSpPr>
            <a:spLocks noGrp="1"/>
          </p:cNvSpPr>
          <p:nvPr>
            <p:ph sz="quarter" idx="10"/>
          </p:nvPr>
        </p:nvSpPr>
        <p:spPr>
          <a:xfrm>
            <a:off x="393706" y="698505"/>
            <a:ext cx="11343217" cy="5691717"/>
          </a:xfrm>
        </p:spPr>
        <p:txBody>
          <a:bodyPr>
            <a:normAutofit/>
          </a:bodyPr>
          <a:lstStyle>
            <a:lvl1pPr>
              <a:defRPr sz="1200">
                <a:latin typeface="Gotham" panose="02000604030000020004" pitchFamily="50" charset="0"/>
              </a:defRPr>
            </a:lvl1pPr>
            <a:lvl2pPr>
              <a:defRPr sz="1101">
                <a:latin typeface="Gotham" panose="02000604030000020004" pitchFamily="50" charset="0"/>
              </a:defRPr>
            </a:lvl2pPr>
            <a:lvl3pPr>
              <a:defRPr sz="1051">
                <a:latin typeface="Gotham" panose="02000604030000020004" pitchFamily="50" charset="0"/>
              </a:defRPr>
            </a:lvl3pPr>
            <a:lvl4pPr>
              <a:defRPr sz="1000">
                <a:latin typeface="Gotham" panose="02000604030000020004" pitchFamily="50" charset="0"/>
              </a:defRPr>
            </a:lvl4pPr>
            <a:lvl5pPr>
              <a:defRPr sz="1000">
                <a:latin typeface="Gotham" panose="02000604030000020004" pitchFamily="50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2" name="Marcador de fecha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>
                <a:latin typeface="Gotham" panose="02000604030000020004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2649495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393701" y="1018120"/>
            <a:ext cx="5384800" cy="53721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096000" y="1018120"/>
            <a:ext cx="5384800" cy="53721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7" name="Títul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8404341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393701" y="1018119"/>
            <a:ext cx="5563720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6098126" y="1018119"/>
            <a:ext cx="5638797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9" name="Marcador de contenido 18"/>
          <p:cNvSpPr>
            <a:spLocks noGrp="1"/>
          </p:cNvSpPr>
          <p:nvPr>
            <p:ph sz="quarter" idx="15"/>
          </p:nvPr>
        </p:nvSpPr>
        <p:spPr>
          <a:xfrm>
            <a:off x="393708" y="3560631"/>
            <a:ext cx="11343213" cy="282959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21" name="Título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3293181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393701" y="1018119"/>
            <a:ext cx="5563720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6098126" y="1018119"/>
            <a:ext cx="5638797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5"/>
          </p:nvPr>
        </p:nvSpPr>
        <p:spPr>
          <a:xfrm>
            <a:off x="393701" y="3614904"/>
            <a:ext cx="5563720" cy="277531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6"/>
          </p:nvPr>
        </p:nvSpPr>
        <p:spPr>
          <a:xfrm>
            <a:off x="6098126" y="3614904"/>
            <a:ext cx="5638797" cy="277531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998890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objeto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393701" y="1018123"/>
            <a:ext cx="5563720" cy="537209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6098126" y="1018119"/>
            <a:ext cx="5638797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6"/>
          </p:nvPr>
        </p:nvSpPr>
        <p:spPr>
          <a:xfrm>
            <a:off x="6098126" y="3549774"/>
            <a:ext cx="5638797" cy="28404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16092559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Objetos horizonta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393700" y="1018119"/>
            <a:ext cx="11343216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5"/>
          </p:nvPr>
        </p:nvSpPr>
        <p:spPr>
          <a:xfrm>
            <a:off x="393700" y="3549770"/>
            <a:ext cx="11343216" cy="284044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45554756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fecha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2701012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erre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plantilla_ppt_2016_wide_fondo_logo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6" y="0"/>
            <a:ext cx="1218902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799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ill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853FDDBC-0539-40C2-89B4-9CFAE078F6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84" cy="6858000"/>
          </a:xfrm>
          <a:prstGeom prst="rect">
            <a:avLst/>
          </a:prstGeom>
        </p:spPr>
      </p:pic>
      <p:sp>
        <p:nvSpPr>
          <p:cNvPr id="5" name="Título 1"/>
          <p:cNvSpPr>
            <a:spLocks noGrp="1"/>
          </p:cNvSpPr>
          <p:nvPr>
            <p:ph type="ctrTitle"/>
          </p:nvPr>
        </p:nvSpPr>
        <p:spPr>
          <a:xfrm>
            <a:off x="7" y="4700457"/>
            <a:ext cx="12191997" cy="1344744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lIns="360000" tIns="90000" bIns="90000" anchor="ctr">
            <a:normAutofit/>
          </a:bodyPr>
          <a:lstStyle>
            <a:lvl1pPr algn="l">
              <a:spcBef>
                <a:spcPts val="3000"/>
              </a:spcBef>
              <a:defRPr sz="1600">
                <a:solidFill>
                  <a:srgbClr val="FFFFFF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pic>
        <p:nvPicPr>
          <p:cNvPr id="3" name="Imagen 2" descr="firma_metro_ppt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3029" y="2"/>
            <a:ext cx="2018972" cy="1953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0714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fecha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B83AE4B0-EAE3-2F42-A75F-6A607EAC454F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 defTabSz="914426">
                <a:defRPr/>
              </a:pPr>
              <a:t>16/12/2024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0217D490-68AB-204F-891C-4DD422C3F883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 defTabSz="914426">
                <a:defRPr/>
              </a:pPr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218920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4" name="3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02732" y="3429008"/>
            <a:ext cx="6334395" cy="12762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775">
                <a:latin typeface="Arial"/>
                <a:cs typeface="Arial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402729" y="4780778"/>
            <a:ext cx="7905984" cy="1020833"/>
          </a:xfrm>
        </p:spPr>
        <p:txBody>
          <a:bodyPr anchor="t">
            <a:normAutofit/>
          </a:bodyPr>
          <a:lstStyle>
            <a:lvl1pPr marL="0" indent="0" algn="l">
              <a:buNone/>
              <a:defRPr sz="2025">
                <a:solidFill>
                  <a:schemeClr val="tx1"/>
                </a:solidFill>
                <a:latin typeface="Ariel"/>
                <a:cs typeface="Ariel"/>
              </a:defRPr>
            </a:lvl1pPr>
            <a:lvl2pPr marL="457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subtítulo</a:t>
            </a:r>
            <a:endParaRPr lang="es-ES"/>
          </a:p>
        </p:txBody>
      </p:sp>
      <p:sp>
        <p:nvSpPr>
          <p:cNvPr id="11" name="Marcador de tex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402970" y="5902327"/>
            <a:ext cx="7905751" cy="611188"/>
          </a:xfrm>
        </p:spPr>
        <p:txBody>
          <a:bodyPr>
            <a:noAutofit/>
          </a:bodyPr>
          <a:lstStyle>
            <a:lvl1pPr marL="0" indent="0">
              <a:buNone/>
              <a:defRPr sz="1575">
                <a:latin typeface="Arial"/>
                <a:cs typeface="Arial"/>
              </a:defRPr>
            </a:lvl1pPr>
            <a:lvl2pPr marL="457202" indent="0">
              <a:buNone/>
              <a:defRPr sz="1575">
                <a:latin typeface="Arial"/>
                <a:cs typeface="Arial"/>
              </a:defRPr>
            </a:lvl2pPr>
            <a:lvl3pPr marL="914404" indent="0">
              <a:buNone/>
              <a:defRPr sz="1425">
                <a:latin typeface="Arial"/>
                <a:cs typeface="Arial"/>
              </a:defRPr>
            </a:lvl3pPr>
            <a:lvl4pPr marL="1371606" indent="0">
              <a:buNone/>
              <a:defRPr sz="1200">
                <a:latin typeface="Arial"/>
                <a:cs typeface="Arial"/>
              </a:defRPr>
            </a:lvl4pPr>
            <a:lvl5pPr marL="1828807" indent="0">
              <a:buNone/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s-ES_tradnl"/>
              <a:t>Haga clic para modificar autor / fecha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55214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fecha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3AE4B0-EAE3-2F42-A75F-6A607EAC454F}" type="datetimeFigureOut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6/12/2024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pie de página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ítu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002539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7EA5270F-E9B7-A741-B27F-5FF255219372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2D2B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87316" y="1119116"/>
            <a:ext cx="8130141" cy="151684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399E7E6-3210-7342-8BB6-835BB9DE04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1579" y="387941"/>
            <a:ext cx="4141326" cy="8413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535A8CB5-E2BD-014A-8B52-4A77B7EC4B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695" t="-1107" r="33437" b="-1507"/>
          <a:stretch/>
        </p:blipFill>
        <p:spPr>
          <a:xfrm>
            <a:off x="0" y="2717845"/>
            <a:ext cx="12192000" cy="3605517"/>
          </a:xfrm>
          <a:prstGeom prst="rect">
            <a:avLst/>
          </a:prstGeom>
        </p:spPr>
      </p:pic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87316" y="2773583"/>
            <a:ext cx="8130141" cy="573529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16FF0CC8-B62A-6249-9395-CC59937E16B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75227"/>
          <a:stretch/>
        </p:blipFill>
        <p:spPr>
          <a:xfrm>
            <a:off x="277860" y="6374745"/>
            <a:ext cx="6433967" cy="36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483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471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6481" y="214397"/>
            <a:ext cx="6183875" cy="4393343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l">
              <a:lnSpc>
                <a:spcPct val="100000"/>
              </a:lnSpc>
              <a:buFont typeface="+mj-lt"/>
              <a:buAutoNum type="arabicPeriod"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8FCEB0D-F0DC-8E4E-9457-47FF3A158D1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54183" y="4805169"/>
            <a:ext cx="11083634" cy="181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96083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1798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307" y="1003412"/>
            <a:ext cx="11663496" cy="1404000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BBE5E4CA-1D7D-B04B-B850-518CAD7065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928374"/>
            <a:ext cx="12192000" cy="3725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09938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9A34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2956" y="2702255"/>
            <a:ext cx="11677143" cy="1530682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8FCEB0D-F0DC-8E4E-9457-47FF3A158D1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54183" y="4805169"/>
            <a:ext cx="11083634" cy="181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3703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7324728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5DCEEA0-A994-064C-ADE7-5320A680A0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9197" y="903515"/>
            <a:ext cx="11653605" cy="5740088"/>
          </a:xfrm>
          <a:prstGeom prst="rect">
            <a:avLst/>
          </a:prstGeom>
        </p:spPr>
        <p:txBody>
          <a:bodyPr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7875009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erre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plantilla_ppt_2016_wide_fondo_logo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" y="0"/>
            <a:ext cx="12189024" cy="6858000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3DC88CE4-E87A-F24C-BA82-DD195941F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7335" y="5103361"/>
            <a:ext cx="5317329" cy="1214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44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 pag comple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contenido 8"/>
          <p:cNvSpPr>
            <a:spLocks noGrp="1"/>
          </p:cNvSpPr>
          <p:nvPr>
            <p:ph sz="quarter" idx="10"/>
          </p:nvPr>
        </p:nvSpPr>
        <p:spPr>
          <a:xfrm>
            <a:off x="393706" y="698505"/>
            <a:ext cx="11343217" cy="5691717"/>
          </a:xfrm>
        </p:spPr>
        <p:txBody>
          <a:bodyPr>
            <a:normAutofit/>
          </a:bodyPr>
          <a:lstStyle>
            <a:lvl1pPr>
              <a:defRPr sz="1200">
                <a:latin typeface="Gotham" panose="02000604030000020004" pitchFamily="50" charset="0"/>
              </a:defRPr>
            </a:lvl1pPr>
            <a:lvl2pPr>
              <a:defRPr sz="1101">
                <a:latin typeface="Gotham" panose="02000604030000020004" pitchFamily="50" charset="0"/>
              </a:defRPr>
            </a:lvl2pPr>
            <a:lvl3pPr>
              <a:defRPr sz="1051">
                <a:latin typeface="Gotham" panose="02000604030000020004" pitchFamily="50" charset="0"/>
              </a:defRPr>
            </a:lvl3pPr>
            <a:lvl4pPr>
              <a:defRPr sz="1000">
                <a:latin typeface="Gotham" panose="02000604030000020004" pitchFamily="50" charset="0"/>
              </a:defRPr>
            </a:lvl4pPr>
            <a:lvl5pPr>
              <a:defRPr sz="1000">
                <a:latin typeface="Gotham" panose="02000604030000020004" pitchFamily="50" charset="0"/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2" name="Marcador de fecha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600">
                <a:latin typeface="Gotham" panose="02000604030000020004" pitchFamily="50" charset="0"/>
              </a:defRPr>
            </a:lvl1pPr>
          </a:lstStyle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6814420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ido pag comple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contenido 8"/>
          <p:cNvSpPr>
            <a:spLocks noGrp="1"/>
          </p:cNvSpPr>
          <p:nvPr>
            <p:ph sz="quarter" idx="10"/>
          </p:nvPr>
        </p:nvSpPr>
        <p:spPr>
          <a:xfrm>
            <a:off x="393702" y="692696"/>
            <a:ext cx="11343217" cy="5697522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2" name="Marcador de fecha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E8BB8BE-80A1-436D-957B-E6EBF2186BF7}" type="datetimeFigureOut">
              <a:rPr lang="es-CL" smtClean="0">
                <a:solidFill>
                  <a:srgbClr val="7F7F7F"/>
                </a:solidFill>
              </a:rPr>
              <a:pPr/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CL">
              <a:solidFill>
                <a:srgbClr val="7F7F7F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D38D766-98D1-4865-AF3B-EA8541AAFC01}" type="slidenum">
              <a:rPr lang="es-CL" smtClean="0">
                <a:solidFill>
                  <a:srgbClr val="7F7F7F"/>
                </a:solidFill>
              </a:rPr>
              <a:pPr/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598702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ase L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BAB2FF89-892A-B84E-A0B2-C2FA65C2AB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7546" y="6126008"/>
            <a:ext cx="566988" cy="560471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361197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04050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ítulo y objetos">
  <p:cSld name="6_Título y objetos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Google Shape;52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94221" y="214397"/>
            <a:ext cx="2828582" cy="574619"/>
          </a:xfrm>
          <a:prstGeom prst="rect">
            <a:avLst/>
          </a:prstGeom>
          <a:noFill/>
          <a:ln>
            <a:noFill/>
          </a:ln>
        </p:spPr>
      </p:pic>
      <p:sp>
        <p:nvSpPr>
          <p:cNvPr id="53" name="Google Shape;53;p29"/>
          <p:cNvSpPr txBox="1"/>
          <p:nvPr/>
        </p:nvSpPr>
        <p:spPr>
          <a:xfrm>
            <a:off x="269197" y="85513"/>
            <a:ext cx="11875702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es-ES" sz="20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Taller de Constructibilidad – Grupo 2 - </a:t>
            </a:r>
            <a:r>
              <a:rPr lang="es-CL" sz="2000" b="1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Revalorización de Estaciones - Etapa 1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4" name="Google Shape;54;p2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04166" y="6127134"/>
            <a:ext cx="1040733" cy="68272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CuadroTexto 1">
            <a:extLst>
              <a:ext uri="{FF2B5EF4-FFF2-40B4-BE49-F238E27FC236}">
                <a16:creationId xmlns:a16="http://schemas.microsoft.com/office/drawing/2014/main" id="{B9597701-5FDB-F010-EA48-EC6A7FDAE420}"/>
              </a:ext>
            </a:extLst>
          </p:cNvPr>
          <p:cNvSpPr txBox="1"/>
          <p:nvPr userDrawn="1"/>
        </p:nvSpPr>
        <p:spPr>
          <a:xfrm>
            <a:off x="4529145" y="6622840"/>
            <a:ext cx="241004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900" b="1">
                <a:solidFill>
                  <a:schemeClr val="tx1"/>
                </a:solidFill>
                <a:latin typeface="Century Gothic" panose="020B0502020202020204" pitchFamily="34" charset="0"/>
              </a:rPr>
              <a:t>LG-IN932024G-ID-0-15PG-INF-2001-R0</a:t>
            </a:r>
          </a:p>
        </p:txBody>
      </p:sp>
    </p:spTree>
    <p:extLst>
      <p:ext uri="{BB962C8B-B14F-4D97-AF65-F5344CB8AC3E}">
        <p14:creationId xmlns:p14="http://schemas.microsoft.com/office/powerpoint/2010/main" val="306288932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7EA5270F-E9B7-A741-B27F-5FF255219372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2D2B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87316" y="1119116"/>
            <a:ext cx="8130141" cy="151684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399E7E6-3210-7342-8BB6-835BB9DE04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1579" y="387941"/>
            <a:ext cx="4141326" cy="8413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535A8CB5-E2BD-014A-8B52-4A77B7EC4B5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695" t="-1107" r="33437" b="-1507"/>
          <a:stretch/>
        </p:blipFill>
        <p:spPr>
          <a:xfrm>
            <a:off x="0" y="2717845"/>
            <a:ext cx="12192000" cy="3605517"/>
          </a:xfrm>
          <a:prstGeom prst="rect">
            <a:avLst/>
          </a:prstGeom>
        </p:spPr>
      </p:pic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87316" y="2773583"/>
            <a:ext cx="8130141" cy="573529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16FF0CC8-B62A-6249-9395-CC59937E16B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75227"/>
          <a:stretch/>
        </p:blipFill>
        <p:spPr>
          <a:xfrm>
            <a:off x="277860" y="6374745"/>
            <a:ext cx="6433967" cy="36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1648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471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6481" y="214397"/>
            <a:ext cx="6183875" cy="4393343"/>
          </a:xfrm>
          <a:prstGeom prst="rect">
            <a:avLst/>
          </a:prstGeom>
        </p:spPr>
        <p:txBody>
          <a:bodyPr>
            <a:normAutofit/>
          </a:bodyPr>
          <a:lstStyle>
            <a:lvl1pPr marL="457200" indent="-457200" algn="l">
              <a:lnSpc>
                <a:spcPct val="100000"/>
              </a:lnSpc>
              <a:buFont typeface="+mj-lt"/>
              <a:buAutoNum type="arabicPeriod"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8FCEB0D-F0DC-8E4E-9457-47FF3A158D1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54183" y="4805169"/>
            <a:ext cx="11083634" cy="181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57053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1798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307" y="1003412"/>
            <a:ext cx="11663496" cy="1404000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BBE5E4CA-1D7D-B04B-B850-518CAD7065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928374"/>
            <a:ext cx="12192000" cy="3725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1770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9A34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2956" y="2702255"/>
            <a:ext cx="11677143" cy="1530682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8FCEB0D-F0DC-8E4E-9457-47FF3A158D1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554183" y="4805169"/>
            <a:ext cx="11083634" cy="181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85880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829466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5DCEEA0-A994-064C-ADE7-5320A680A0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9197" y="903515"/>
            <a:ext cx="11653605" cy="5740088"/>
          </a:xfrm>
          <a:prstGeom prst="rect">
            <a:avLst/>
          </a:prstGeom>
        </p:spPr>
        <p:txBody>
          <a:bodyPr/>
          <a:lstStyle>
            <a:lvl1pPr algn="just">
              <a:defRPr/>
            </a:lvl1pPr>
            <a:lvl2pPr algn="just">
              <a:defRPr/>
            </a:lvl2pPr>
            <a:lvl3pPr algn="just">
              <a:defRPr/>
            </a:lvl3pPr>
            <a:lvl4pPr algn="just">
              <a:defRPr/>
            </a:lvl4pPr>
            <a:lvl5pPr algn="just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622994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393701" y="1018120"/>
            <a:ext cx="5384800" cy="53721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096000" y="1018120"/>
            <a:ext cx="5384800" cy="53721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7" name="Título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74028303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erre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plantilla_ppt_2016_wide_fondo_logo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" y="0"/>
            <a:ext cx="12189024" cy="6858000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3DC88CE4-E87A-F24C-BA82-DD195941F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7335" y="5103361"/>
            <a:ext cx="5317329" cy="1214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13456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ido pag comple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arcador de contenido 8"/>
          <p:cNvSpPr>
            <a:spLocks noGrp="1"/>
          </p:cNvSpPr>
          <p:nvPr>
            <p:ph sz="quarter" idx="10"/>
          </p:nvPr>
        </p:nvSpPr>
        <p:spPr>
          <a:xfrm>
            <a:off x="393702" y="692696"/>
            <a:ext cx="11343217" cy="5697522"/>
          </a:xfrm>
        </p:spPr>
        <p:txBody>
          <a:bodyPr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2" name="Marcador de fecha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DE8BB8BE-80A1-436D-957B-E6EBF2186BF7}" type="datetimeFigureOut">
              <a:rPr lang="es-CL" smtClean="0">
                <a:solidFill>
                  <a:srgbClr val="7F7F7F"/>
                </a:solidFill>
              </a:rPr>
              <a:pPr/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CL">
              <a:solidFill>
                <a:srgbClr val="7F7F7F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D38D766-98D1-4865-AF3B-EA8541AAFC01}" type="slidenum">
              <a:rPr lang="es-CL" smtClean="0">
                <a:solidFill>
                  <a:srgbClr val="7F7F7F"/>
                </a:solidFill>
              </a:rPr>
              <a:pPr/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3809521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ase L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BAB2FF89-892A-B84E-A0B2-C2FA65C2AB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7546" y="6126008"/>
            <a:ext cx="566988" cy="560471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9345792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6931E0A8-FB68-FC4A-A289-F0F6DC24EA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545" t="1907" r="3925" b="1907"/>
          <a:stretch/>
        </p:blipFill>
        <p:spPr>
          <a:xfrm>
            <a:off x="-83128" y="0"/>
            <a:ext cx="12275127" cy="68580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87316" y="1497899"/>
            <a:ext cx="6753727" cy="1524806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399E7E6-3210-7342-8BB6-835BB9DE049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701579" y="387941"/>
            <a:ext cx="4141326" cy="8413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535A8CB5-E2BD-014A-8B52-4A77B7EC4B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8964" r="33780"/>
          <a:stretch/>
        </p:blipFill>
        <p:spPr>
          <a:xfrm>
            <a:off x="-83128" y="2844110"/>
            <a:ext cx="12275128" cy="3513678"/>
          </a:xfrm>
          <a:prstGeom prst="rect">
            <a:avLst/>
          </a:prstGeom>
        </p:spPr>
      </p:pic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87316" y="3114780"/>
            <a:ext cx="6753727" cy="1218786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F2C9321-2C9A-8A47-AD79-1F18C195AC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6791"/>
          <a:stretch/>
        </p:blipFill>
        <p:spPr>
          <a:xfrm>
            <a:off x="244013" y="6411434"/>
            <a:ext cx="5345247" cy="282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2124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7">
            <a:extLst>
              <a:ext uri="{FF2B5EF4-FFF2-40B4-BE49-F238E27FC236}">
                <a16:creationId xmlns:a16="http://schemas.microsoft.com/office/drawing/2014/main" id="{7EA5270F-E9B7-A741-B27F-5FF255219372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9B34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87316" y="1497899"/>
            <a:ext cx="6753727" cy="1524806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5399E7E6-3210-7342-8BB6-835BB9DE049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01579" y="387941"/>
            <a:ext cx="4141326" cy="8413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535A8CB5-E2BD-014A-8B52-4A77B7EC4B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9695" t="-1107" r="33437" b="-1507"/>
          <a:stretch/>
        </p:blipFill>
        <p:spPr>
          <a:xfrm>
            <a:off x="0" y="2717845"/>
            <a:ext cx="12192000" cy="3605517"/>
          </a:xfrm>
          <a:prstGeom prst="rect">
            <a:avLst/>
          </a:prstGeom>
        </p:spPr>
      </p:pic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87316" y="3114780"/>
            <a:ext cx="6753727" cy="832306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16FF0CC8-B62A-6249-9395-CC59937E16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75227"/>
          <a:stretch/>
        </p:blipFill>
        <p:spPr>
          <a:xfrm>
            <a:off x="277860" y="6374745"/>
            <a:ext cx="6433967" cy="364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0981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3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6482" y="957384"/>
            <a:ext cx="5061610" cy="1082431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6482" y="2169318"/>
            <a:ext cx="5061610" cy="2438422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8FCEB0D-F0DC-8E4E-9457-47FF3A158D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54183" y="4805169"/>
            <a:ext cx="11083634" cy="181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60916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0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3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6482" y="1317480"/>
            <a:ext cx="4367018" cy="1082431"/>
          </a:xfrm>
        </p:spPr>
        <p:txBody>
          <a:bodyPr anchor="b">
            <a:noAutofit/>
          </a:bodyPr>
          <a:lstStyle>
            <a:lvl1pPr algn="r"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0145" y="1317480"/>
            <a:ext cx="5860473" cy="1082431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BBE5E4CA-1D7D-B04B-B850-518CAD70650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2928374"/>
            <a:ext cx="12192000" cy="3725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51465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4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2C2B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6482" y="1317480"/>
            <a:ext cx="4367018" cy="1082431"/>
          </a:xfrm>
        </p:spPr>
        <p:txBody>
          <a:bodyPr anchor="b">
            <a:noAutofit/>
          </a:bodyPr>
          <a:lstStyle>
            <a:lvl1pPr algn="r"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20145" y="1317480"/>
            <a:ext cx="5860473" cy="1082431"/>
          </a:xfrm>
        </p:spPr>
        <p:txBody>
          <a:bodyPr anchor="b"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BBE5E4CA-1D7D-B04B-B850-518CAD70650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2928374"/>
            <a:ext cx="12192000" cy="3725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56906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FAB5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6482" y="957384"/>
            <a:ext cx="5061610" cy="1082431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6482" y="2169318"/>
            <a:ext cx="5061610" cy="2438422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8FCEB0D-F0DC-8E4E-9457-47FF3A158D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54183" y="4805169"/>
            <a:ext cx="11083634" cy="181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67948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E2E9CA85-347D-474D-8AC7-37446DA6C727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1798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6482" y="957384"/>
            <a:ext cx="5061610" cy="1082431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6482" y="2169318"/>
            <a:ext cx="5061610" cy="2438422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8FCEB0D-F0DC-8E4E-9457-47FF3A158D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54183" y="4805169"/>
            <a:ext cx="11083634" cy="1816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270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393701" y="1018119"/>
            <a:ext cx="5563720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6098126" y="1018119"/>
            <a:ext cx="5638797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9" name="Marcador de contenido 18"/>
          <p:cNvSpPr>
            <a:spLocks noGrp="1"/>
          </p:cNvSpPr>
          <p:nvPr>
            <p:ph sz="quarter" idx="15"/>
          </p:nvPr>
        </p:nvSpPr>
        <p:spPr>
          <a:xfrm>
            <a:off x="393708" y="3560631"/>
            <a:ext cx="11343213" cy="282959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21" name="Título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0872533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632FF6FB-FBE9-4348-9D70-7A84E1135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545" t="1907" r="4545" b="19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24BF4D7-1791-3540-AE70-7C0E0AD8865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76482" y="957384"/>
            <a:ext cx="5061610" cy="1082431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2800" b="1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s-ES"/>
              <a:t>Haga clic para modificar el título</a:t>
            </a:r>
            <a:endParaRPr lang="es-CL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CFEA230F-9CCF-694C-92AA-52804B0BE84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76482" y="2169318"/>
            <a:ext cx="5061610" cy="2033188"/>
          </a:xfr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subtítulo</a:t>
            </a:r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08B14658-1E5F-4947-AFFB-BBC35E900E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C39FA857-66B0-5543-820B-0174E11058D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421148" y="4511749"/>
            <a:ext cx="9349703" cy="2131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73073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16F4767-4F46-6943-809A-626FB2BBC4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545" t="1907" r="4545" b="1907"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67BE5B36-F260-0D4E-8EA5-7B82779CE8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857" r="1212"/>
          <a:stretch/>
        </p:blipFill>
        <p:spPr>
          <a:xfrm>
            <a:off x="-2" y="4696691"/>
            <a:ext cx="12192001" cy="206141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5DCEEA0-A994-064C-ADE7-5320A680A0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CEB8E63A-281F-1D44-A1F5-0E8E301A547A}"/>
              </a:ext>
            </a:extLst>
          </p:cNvPr>
          <p:cNvSpPr/>
          <p:nvPr userDrawn="1"/>
        </p:nvSpPr>
        <p:spPr>
          <a:xfrm>
            <a:off x="269197" y="377418"/>
            <a:ext cx="248575" cy="248575"/>
          </a:xfrm>
          <a:prstGeom prst="ellipse">
            <a:avLst/>
          </a:prstGeom>
          <a:solidFill>
            <a:srgbClr val="E427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7427793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>
            <a:extLst>
              <a:ext uri="{FF2B5EF4-FFF2-40B4-BE49-F238E27FC236}">
                <a16:creationId xmlns:a16="http://schemas.microsoft.com/office/drawing/2014/main" id="{08AAD2B9-D40C-DC43-9DB2-7013F1D413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545" t="1907" r="4545" b="1907"/>
          <a:stretch/>
        </p:blipFill>
        <p:spPr>
          <a:xfrm>
            <a:off x="2" y="0"/>
            <a:ext cx="12192000" cy="6858000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7894D2C4-BF6D-9044-AC65-01F3CF7000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857" r="1212"/>
          <a:stretch/>
        </p:blipFill>
        <p:spPr>
          <a:xfrm>
            <a:off x="0" y="4696691"/>
            <a:ext cx="12192001" cy="2061411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A8D84908-55BB-7943-A585-59CA983186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545" t="1907" r="4545" b="19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5DCEEA0-A994-064C-ADE7-5320A680A0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C098991-10A8-2B4A-8359-456123E3C7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857" r="1212"/>
          <a:stretch/>
        </p:blipFill>
        <p:spPr>
          <a:xfrm>
            <a:off x="-2" y="4696691"/>
            <a:ext cx="12192001" cy="2061411"/>
          </a:xfrm>
          <a:prstGeom prst="rect">
            <a:avLst/>
          </a:prstGeom>
        </p:spPr>
      </p:pic>
      <p:sp>
        <p:nvSpPr>
          <p:cNvPr id="10" name="Elipse 9">
            <a:extLst>
              <a:ext uri="{FF2B5EF4-FFF2-40B4-BE49-F238E27FC236}">
                <a16:creationId xmlns:a16="http://schemas.microsoft.com/office/drawing/2014/main" id="{F7F73C4E-AA2E-A243-B597-33350D1CBC4B}"/>
              </a:ext>
            </a:extLst>
          </p:cNvPr>
          <p:cNvSpPr/>
          <p:nvPr userDrawn="1"/>
        </p:nvSpPr>
        <p:spPr>
          <a:xfrm>
            <a:off x="269197" y="377418"/>
            <a:ext cx="248575" cy="248575"/>
          </a:xfrm>
          <a:prstGeom prst="ellipse">
            <a:avLst/>
          </a:prstGeom>
          <a:solidFill>
            <a:srgbClr val="E427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18478741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31CDBB6A-A1DB-A44D-8C3D-F285A7C084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545" t="1907" r="4545" b="19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ADFAAF3E-27C3-DA48-B0CC-0C6A597A57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857" r="1212"/>
          <a:stretch/>
        </p:blipFill>
        <p:spPr>
          <a:xfrm>
            <a:off x="-2" y="4696691"/>
            <a:ext cx="12192001" cy="206141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5DCEEA0-A994-064C-ADE7-5320A680A0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9197" y="903515"/>
            <a:ext cx="5826803" cy="57400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AD30EF15-67FC-294D-956D-7C4F0EC78E3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69038" y="903515"/>
            <a:ext cx="5729287" cy="5740173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8B2FAAF0-BE4F-2F42-8ED6-28E8AE59A348}"/>
              </a:ext>
            </a:extLst>
          </p:cNvPr>
          <p:cNvSpPr/>
          <p:nvPr userDrawn="1"/>
        </p:nvSpPr>
        <p:spPr>
          <a:xfrm>
            <a:off x="269197" y="377418"/>
            <a:ext cx="248575" cy="248575"/>
          </a:xfrm>
          <a:prstGeom prst="ellipse">
            <a:avLst/>
          </a:prstGeom>
          <a:solidFill>
            <a:srgbClr val="E427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1051561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52A06C02-8283-2944-B130-BB5187C551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545" t="1907" r="4545" b="190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id="{DCB60BC7-9E02-D743-9E7F-CC368E0D39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857" r="1212"/>
          <a:stretch/>
        </p:blipFill>
        <p:spPr>
          <a:xfrm>
            <a:off x="-2" y="4696691"/>
            <a:ext cx="12192001" cy="206141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5DCEEA0-A994-064C-ADE7-5320A680A0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9197" y="903515"/>
            <a:ext cx="5826803" cy="57400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AD30EF15-67FC-294D-956D-7C4F0EC78E3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269038" y="903515"/>
            <a:ext cx="5729287" cy="287600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66FCDF51-4E0B-084A-98F9-5CF82766409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69038" y="3894019"/>
            <a:ext cx="5729287" cy="274966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FDDD3B72-E9EB-904B-A42B-299135275283}"/>
              </a:ext>
            </a:extLst>
          </p:cNvPr>
          <p:cNvSpPr/>
          <p:nvPr userDrawn="1"/>
        </p:nvSpPr>
        <p:spPr>
          <a:xfrm>
            <a:off x="269197" y="377418"/>
            <a:ext cx="248575" cy="248575"/>
          </a:xfrm>
          <a:prstGeom prst="ellipse">
            <a:avLst/>
          </a:prstGeom>
          <a:solidFill>
            <a:srgbClr val="E427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99130280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F2C4AF54-C25B-5A4E-8106-329BBFD928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545" t="1907" r="4545" b="1907"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1C59C2D7-CAFA-E346-8F7D-73D21229B3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857" r="1212"/>
          <a:stretch/>
        </p:blipFill>
        <p:spPr>
          <a:xfrm>
            <a:off x="-2" y="4696691"/>
            <a:ext cx="12192001" cy="206141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6" name="Elipse 5">
            <a:extLst>
              <a:ext uri="{FF2B5EF4-FFF2-40B4-BE49-F238E27FC236}">
                <a16:creationId xmlns:a16="http://schemas.microsoft.com/office/drawing/2014/main" id="{F69D9CAF-46C6-3345-BBEB-6780E980AE64}"/>
              </a:ext>
            </a:extLst>
          </p:cNvPr>
          <p:cNvSpPr/>
          <p:nvPr userDrawn="1"/>
        </p:nvSpPr>
        <p:spPr>
          <a:xfrm>
            <a:off x="269197" y="377418"/>
            <a:ext cx="248575" cy="248575"/>
          </a:xfrm>
          <a:prstGeom prst="ellipse">
            <a:avLst/>
          </a:prstGeom>
          <a:solidFill>
            <a:srgbClr val="E427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3484074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555048A0-90A9-E24A-8019-C71FDEEEF6D9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9B34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5" name="Elipse 4">
            <a:extLst>
              <a:ext uri="{FF2B5EF4-FFF2-40B4-BE49-F238E27FC236}">
                <a16:creationId xmlns:a16="http://schemas.microsoft.com/office/drawing/2014/main" id="{3756F504-5FDE-2841-A34A-478AA7A33CF8}"/>
              </a:ext>
            </a:extLst>
          </p:cNvPr>
          <p:cNvSpPr/>
          <p:nvPr userDrawn="1"/>
        </p:nvSpPr>
        <p:spPr>
          <a:xfrm>
            <a:off x="269197" y="377418"/>
            <a:ext cx="248575" cy="248575"/>
          </a:xfrm>
          <a:prstGeom prst="ellipse">
            <a:avLst/>
          </a:prstGeom>
          <a:solidFill>
            <a:srgbClr val="E427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5073985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5DCEEA0-A994-064C-ADE7-5320A680A0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1636208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pic>
        <p:nvPicPr>
          <p:cNvPr id="10" name="Imagen 9">
            <a:extLst>
              <a:ext uri="{FF2B5EF4-FFF2-40B4-BE49-F238E27FC236}">
                <a16:creationId xmlns:a16="http://schemas.microsoft.com/office/drawing/2014/main" id="{BAB2FF89-892A-B84E-A0B2-C2FA65C2AB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97546" y="6126008"/>
            <a:ext cx="566988" cy="560471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5DCEEA0-A994-064C-ADE7-5320A680A0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defRPr>
                <a:solidFill>
                  <a:schemeClr val="tx2">
                    <a:lumMod val="75000"/>
                  </a:schemeClr>
                </a:solidFill>
              </a:defRPr>
            </a:lvl3pPr>
            <a:lvl4pPr>
              <a:defRPr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107622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528471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fecha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26">
              <a:defRPr/>
            </a:pPr>
            <a:fld id="{10EA771B-62E6-4ED8-BBBA-63F9F89F6B00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9" name="Marcador de pie de página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10" name="Marcador de número de diapositiva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26">
              <a:defRPr/>
            </a:pPr>
            <a:fld id="{69D6E00E-4872-400B-A7F6-765467F1A8D6}" type="slidenum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15" name="Marcador de contenido 14"/>
          <p:cNvSpPr>
            <a:spLocks noGrp="1"/>
          </p:cNvSpPr>
          <p:nvPr>
            <p:ph sz="quarter" idx="13"/>
          </p:nvPr>
        </p:nvSpPr>
        <p:spPr>
          <a:xfrm>
            <a:off x="393701" y="1018119"/>
            <a:ext cx="5563720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17" name="Marcador de contenido 16"/>
          <p:cNvSpPr>
            <a:spLocks noGrp="1"/>
          </p:cNvSpPr>
          <p:nvPr>
            <p:ph sz="quarter" idx="14"/>
          </p:nvPr>
        </p:nvSpPr>
        <p:spPr>
          <a:xfrm>
            <a:off x="6098126" y="1018119"/>
            <a:ext cx="5638797" cy="241088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5"/>
          </p:nvPr>
        </p:nvSpPr>
        <p:spPr>
          <a:xfrm>
            <a:off x="393701" y="3614904"/>
            <a:ext cx="5563720" cy="277531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contenido 4"/>
          <p:cNvSpPr>
            <a:spLocks noGrp="1"/>
          </p:cNvSpPr>
          <p:nvPr>
            <p:ph sz="quarter" idx="16"/>
          </p:nvPr>
        </p:nvSpPr>
        <p:spPr>
          <a:xfrm>
            <a:off x="6098126" y="3614904"/>
            <a:ext cx="5638797" cy="277531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1"/>
            </a:lvl3pPr>
            <a:lvl4pPr>
              <a:defRPr sz="1051"/>
            </a:lvl4pPr>
            <a:lvl5pPr>
              <a:defRPr sz="1051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291694528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 co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plantilla_ppt_2016_wide_fondo_logo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" y="0"/>
            <a:ext cx="12189024" cy="6858000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3DC88CE4-E87A-F24C-BA82-DD195941FCE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37335" y="5103361"/>
            <a:ext cx="5317329" cy="1214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36939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ido pag comple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5" name="4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Marcador de contenido 8"/>
          <p:cNvSpPr>
            <a:spLocks noGrp="1"/>
          </p:cNvSpPr>
          <p:nvPr>
            <p:ph sz="quarter" idx="10"/>
          </p:nvPr>
        </p:nvSpPr>
        <p:spPr>
          <a:xfrm>
            <a:off x="393701" y="900114"/>
            <a:ext cx="11343217" cy="5662612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2" name="Marcador de fecha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s-ES">
              <a:solidFill>
                <a:srgbClr val="7F7F7F"/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s-ES">
              <a:solidFill>
                <a:srgbClr val="7F7F7F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217D490-68AB-204F-891C-4DD422C3F883}" type="slidenum">
              <a:rPr lang="es-ES" smtClean="0">
                <a:solidFill>
                  <a:srgbClr val="7F7F7F"/>
                </a:solidFill>
              </a:rPr>
              <a:pPr/>
              <a:t>‹Nº›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</p:spTree>
    <p:extLst>
      <p:ext uri="{BB962C8B-B14F-4D97-AF65-F5344CB8AC3E}">
        <p14:creationId xmlns:p14="http://schemas.microsoft.com/office/powerpoint/2010/main" val="336616698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>
            <a:extLst>
              <a:ext uri="{FF2B5EF4-FFF2-40B4-BE49-F238E27FC236}">
                <a16:creationId xmlns:a16="http://schemas.microsoft.com/office/drawing/2014/main" id="{A9A27B11-369C-FC42-AE87-57823E0D8C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8BD9637C-BC98-7A4E-AB38-DDC2E619B5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6226" y="214397"/>
            <a:ext cx="8320946" cy="57461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A5DCEEA0-A994-064C-ADE7-5320A680A0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246808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vmlDrawing" Target="../drawings/vmlDrawing4.vml"/><Relationship Id="rId3" Type="http://schemas.openxmlformats.org/officeDocument/2006/relationships/slideLayout" Target="../slideLayouts/slideLayout23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3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vmlDrawing" Target="../drawings/vmlDrawing6.vml"/><Relationship Id="rId3" Type="http://schemas.openxmlformats.org/officeDocument/2006/relationships/slideLayout" Target="../slideLayouts/slideLayout39.xml"/><Relationship Id="rId21" Type="http://schemas.openxmlformats.org/officeDocument/2006/relationships/oleObject" Target="../embeddings/oleObject6.bin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tags" Target="../tags/tag10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46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vmlDrawing" Target="../drawings/vmlDrawing8.v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heme" Target="../theme/theme4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54.xml"/><Relationship Id="rId16" Type="http://schemas.openxmlformats.org/officeDocument/2006/relationships/image" Target="../media/image10.emf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oleObject" Target="../embeddings/oleObject8.bin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tags" Target="../tags/tag1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tags" Target="../tags/tag13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68.xml"/><Relationship Id="rId15" Type="http://schemas.openxmlformats.org/officeDocument/2006/relationships/image" Target="../media/image8.png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image" Target="../media/image10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image" Target="../media/image8.png"/><Relationship Id="rId3" Type="http://schemas.openxmlformats.org/officeDocument/2006/relationships/slideLayout" Target="../slideLayouts/slideLayout75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image" Target="../media/image9.emf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oleObject" Target="../embeddings/oleObject10.bin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tags" Target="../tags/tag14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vmlDrawing" Target="../drawings/vmlDrawing10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D9D5C2E7-9BFE-4DB8-8228-754489F701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846521173"/>
              </p:ext>
            </p:extLst>
          </p:nvPr>
        </p:nvGraphicFramePr>
        <p:xfrm>
          <a:off x="2120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a de think-cell" r:id="rId25" imgW="359" imgH="355" progId="TCLayout.ActiveDocument.1">
                  <p:embed/>
                </p:oleObj>
              </mc:Choice>
              <mc:Fallback>
                <p:oleObj name="Diapositiva de think-cell" r:id="rId25" imgW="359" imgH="355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D9D5C2E7-9BFE-4DB8-8228-754489F701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120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AF927BB7-4AB2-49E5-9F7E-F3F3E0194A9C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2" y="3"/>
            <a:ext cx="211668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_tradnl" sz="1600" b="1" i="0" baseline="0">
              <a:latin typeface="Gotham" panose="02000604030000020004"/>
              <a:ea typeface="+mj-ea"/>
              <a:cs typeface="Arial" panose="020B0604020202020204" pitchFamily="34" charset="0"/>
              <a:sym typeface="Gotham" panose="02000604030000020004"/>
            </a:endParaRP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393705" y="711205"/>
            <a:ext cx="11314031" cy="5682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3"/>
          </p:nvPr>
        </p:nvSpPr>
        <p:spPr>
          <a:xfrm>
            <a:off x="4165600" y="6584444"/>
            <a:ext cx="3860800" cy="259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000">
                <a:solidFill>
                  <a:schemeClr val="accent6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"/>
          </p:nvPr>
        </p:nvSpPr>
        <p:spPr>
          <a:xfrm>
            <a:off x="8862933" y="6584444"/>
            <a:ext cx="2844800" cy="259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accent6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pPr defTabSz="914426">
              <a:defRPr/>
            </a:pPr>
            <a:fld id="{0217D490-68AB-204F-891C-4DD422C3F883}" type="slidenum">
              <a:rPr lang="es-ES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2"/>
          </p:nvPr>
        </p:nvSpPr>
        <p:spPr>
          <a:xfrm>
            <a:off x="393701" y="6584444"/>
            <a:ext cx="2844800" cy="259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accent6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pPr defTabSz="914426">
              <a:defRPr/>
            </a:pPr>
            <a:fld id="{A5B4B0EB-3C60-44F8-865C-EA5536DC9792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6" name="Marcador de título 5"/>
          <p:cNvSpPr>
            <a:spLocks noGrp="1"/>
          </p:cNvSpPr>
          <p:nvPr>
            <p:ph type="title"/>
          </p:nvPr>
        </p:nvSpPr>
        <p:spPr>
          <a:xfrm>
            <a:off x="393708" y="82781"/>
            <a:ext cx="10438809" cy="514529"/>
          </a:xfrm>
          <a:prstGeom prst="rect">
            <a:avLst/>
          </a:prstGeom>
          <a:solidFill>
            <a:srgbClr val="FFFFFF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pic>
        <p:nvPicPr>
          <p:cNvPr id="10" name="Imagen 9" descr="firma_metro_ppt2.png"/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7568" y="0"/>
            <a:ext cx="1234432" cy="1194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022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  <p:sldLayoutId id="2147483921" r:id="rId13"/>
    <p:sldLayoutId id="2147483922" r:id="rId14"/>
    <p:sldLayoutId id="2147483923" r:id="rId15"/>
    <p:sldLayoutId id="2147483924" r:id="rId16"/>
    <p:sldLayoutId id="2147484000" r:id="rId17"/>
    <p:sldLayoutId id="2147484001" r:id="rId18"/>
    <p:sldLayoutId id="2147484057" r:id="rId19"/>
    <p:sldLayoutId id="2147484058" r:id="rId20"/>
  </p:sldLayoutIdLst>
  <p:txStyles>
    <p:titleStyle>
      <a:lvl1pPr algn="l" defTabSz="457212" rtl="0" eaLnBrk="1" latinLnBrk="0" hangingPunct="1">
        <a:lnSpc>
          <a:spcPct val="90000"/>
        </a:lnSpc>
        <a:spcBef>
          <a:spcPct val="0"/>
        </a:spcBef>
        <a:buNone/>
        <a:defRPr sz="1600" b="1" kern="1200">
          <a:solidFill>
            <a:schemeClr val="tx1"/>
          </a:solidFill>
          <a:latin typeface="Gotham" panose="02000604030000020004" pitchFamily="50" charset="0"/>
          <a:ea typeface="+mj-ea"/>
          <a:cs typeface="Arial"/>
        </a:defRPr>
      </a:lvl1pPr>
    </p:titleStyle>
    <p:bodyStyle>
      <a:lvl1pPr marL="342911" indent="-342911" algn="l" defTabSz="457212" rtl="0" eaLnBrk="1" latinLnBrk="0" hangingPunct="1">
        <a:spcBef>
          <a:spcPct val="20000"/>
        </a:spcBef>
        <a:buFont typeface="Arial"/>
        <a:buChar char="•"/>
        <a:defRPr sz="1200" kern="1200">
          <a:solidFill>
            <a:schemeClr val="tx1"/>
          </a:solidFill>
          <a:latin typeface="Gotham" panose="02000604030000020004" pitchFamily="50" charset="0"/>
          <a:ea typeface="+mn-ea"/>
          <a:cs typeface="Arial"/>
        </a:defRPr>
      </a:lvl1pPr>
      <a:lvl2pPr marL="742970" indent="-285758" algn="l" defTabSz="457212" rtl="0" eaLnBrk="1" latinLnBrk="0" hangingPunct="1">
        <a:spcBef>
          <a:spcPct val="20000"/>
        </a:spcBef>
        <a:buFont typeface="Arial"/>
        <a:buChar char="–"/>
        <a:defRPr sz="1101" kern="1200">
          <a:solidFill>
            <a:schemeClr val="tx1"/>
          </a:solidFill>
          <a:latin typeface="Gotham" panose="02000604030000020004" pitchFamily="50" charset="0"/>
          <a:ea typeface="+mn-ea"/>
          <a:cs typeface="Arial"/>
        </a:defRPr>
      </a:lvl2pPr>
      <a:lvl3pPr marL="1143033" indent="-228606" algn="l" defTabSz="457212" rtl="0" eaLnBrk="1" latinLnBrk="0" hangingPunct="1">
        <a:spcBef>
          <a:spcPct val="20000"/>
        </a:spcBef>
        <a:buFont typeface="Arial"/>
        <a:buChar char="•"/>
        <a:defRPr sz="1051" kern="1200">
          <a:solidFill>
            <a:schemeClr val="tx1"/>
          </a:solidFill>
          <a:latin typeface="Gotham" panose="02000604030000020004" pitchFamily="50" charset="0"/>
          <a:ea typeface="+mn-ea"/>
          <a:cs typeface="Arial"/>
        </a:defRPr>
      </a:lvl3pPr>
      <a:lvl4pPr marL="1600245" indent="-228606" algn="l" defTabSz="457212" rtl="0" eaLnBrk="1" latinLnBrk="0" hangingPunct="1">
        <a:spcBef>
          <a:spcPct val="20000"/>
        </a:spcBef>
        <a:buFont typeface="Arial"/>
        <a:buChar char="–"/>
        <a:defRPr sz="1000" kern="1200">
          <a:solidFill>
            <a:schemeClr val="tx1"/>
          </a:solidFill>
          <a:latin typeface="Gotham" panose="02000604030000020004" pitchFamily="50" charset="0"/>
          <a:ea typeface="+mn-ea"/>
          <a:cs typeface="Arial"/>
        </a:defRPr>
      </a:lvl4pPr>
      <a:lvl5pPr marL="2057457" indent="-228606" algn="l" defTabSz="457212" rtl="0" eaLnBrk="1" latinLnBrk="0" hangingPunct="1">
        <a:spcBef>
          <a:spcPct val="20000"/>
        </a:spcBef>
        <a:buFont typeface="Arial"/>
        <a:buChar char="»"/>
        <a:defRPr sz="1000" kern="1200">
          <a:solidFill>
            <a:schemeClr val="tx1"/>
          </a:solidFill>
          <a:latin typeface="Gotham" panose="02000604030000020004" pitchFamily="50" charset="0"/>
          <a:ea typeface="+mn-ea"/>
          <a:cs typeface="Arial"/>
        </a:defRPr>
      </a:lvl5pPr>
      <a:lvl6pPr marL="2514671" indent="-228606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84" indent="-228606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97" indent="-228606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09" indent="-228606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6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9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51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65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78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90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02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D9D5C2E7-9BFE-4DB8-8228-754489F701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33067235"/>
              </p:ext>
            </p:extLst>
          </p:nvPr>
        </p:nvGraphicFramePr>
        <p:xfrm>
          <a:off x="2120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Diapositiva de think-cell" r:id="rId21" imgW="359" imgH="355" progId="TCLayout.ActiveDocument.1">
                  <p:embed/>
                </p:oleObj>
              </mc:Choice>
              <mc:Fallback>
                <p:oleObj name="Diapositiva de think-cell" r:id="rId21" imgW="359" imgH="355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D9D5C2E7-9BFE-4DB8-8228-754489F701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20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AF927BB7-4AB2-49E5-9F7E-F3F3E0194A9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2" y="3"/>
            <a:ext cx="211668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_tradnl" sz="1600" b="1" i="0" baseline="0">
              <a:latin typeface="Gotham" panose="02000604030000020004"/>
              <a:ea typeface="+mj-ea"/>
              <a:cs typeface="Arial" panose="020B0604020202020204" pitchFamily="34" charset="0"/>
              <a:sym typeface="Gotham" panose="02000604030000020004"/>
            </a:endParaRP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393705" y="711205"/>
            <a:ext cx="11314031" cy="5682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3"/>
          </p:nvPr>
        </p:nvSpPr>
        <p:spPr>
          <a:xfrm>
            <a:off x="4165600" y="6584444"/>
            <a:ext cx="3860800" cy="259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000">
                <a:solidFill>
                  <a:schemeClr val="accent6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"/>
          </p:nvPr>
        </p:nvSpPr>
        <p:spPr>
          <a:xfrm>
            <a:off x="8862933" y="6584444"/>
            <a:ext cx="2844800" cy="259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accent6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pPr defTabSz="914426">
              <a:defRPr/>
            </a:pPr>
            <a:fld id="{0217D490-68AB-204F-891C-4DD422C3F883}" type="slidenum">
              <a:rPr lang="es-ES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2"/>
          </p:nvPr>
        </p:nvSpPr>
        <p:spPr>
          <a:xfrm>
            <a:off x="393701" y="6584444"/>
            <a:ext cx="2844800" cy="259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accent6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pPr defTabSz="914426">
              <a:defRPr/>
            </a:pPr>
            <a:fld id="{A5B4B0EB-3C60-44F8-865C-EA5536DC9792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6" name="Marcador de título 5"/>
          <p:cNvSpPr>
            <a:spLocks noGrp="1"/>
          </p:cNvSpPr>
          <p:nvPr>
            <p:ph type="title"/>
          </p:nvPr>
        </p:nvSpPr>
        <p:spPr>
          <a:xfrm>
            <a:off x="393708" y="82781"/>
            <a:ext cx="10438809" cy="514529"/>
          </a:xfrm>
          <a:prstGeom prst="rect">
            <a:avLst/>
          </a:prstGeom>
          <a:solidFill>
            <a:srgbClr val="FFFFFF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pic>
        <p:nvPicPr>
          <p:cNvPr id="10" name="Imagen 9" descr="firma_metro_ppt2.png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7568" y="0"/>
            <a:ext cx="1234432" cy="1194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736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</p:sldLayoutIdLst>
  <p:txStyles>
    <p:titleStyle>
      <a:lvl1pPr algn="l" defTabSz="457212" rtl="0" eaLnBrk="1" latinLnBrk="0" hangingPunct="1">
        <a:lnSpc>
          <a:spcPct val="90000"/>
        </a:lnSpc>
        <a:spcBef>
          <a:spcPct val="0"/>
        </a:spcBef>
        <a:buNone/>
        <a:defRPr sz="1600" b="1" kern="1200">
          <a:solidFill>
            <a:schemeClr val="tx1"/>
          </a:solidFill>
          <a:latin typeface="Gotham" panose="02000604030000020004" pitchFamily="50" charset="0"/>
          <a:ea typeface="+mj-ea"/>
          <a:cs typeface="Arial"/>
        </a:defRPr>
      </a:lvl1pPr>
    </p:titleStyle>
    <p:bodyStyle>
      <a:lvl1pPr marL="342911" indent="-342911" algn="l" defTabSz="457212" rtl="0" eaLnBrk="1" latinLnBrk="0" hangingPunct="1">
        <a:spcBef>
          <a:spcPct val="20000"/>
        </a:spcBef>
        <a:buFont typeface="Arial"/>
        <a:buChar char="•"/>
        <a:defRPr sz="1200" kern="1200">
          <a:solidFill>
            <a:schemeClr val="tx1"/>
          </a:solidFill>
          <a:latin typeface="Gotham" panose="02000604030000020004" pitchFamily="50" charset="0"/>
          <a:ea typeface="+mn-ea"/>
          <a:cs typeface="Arial"/>
        </a:defRPr>
      </a:lvl1pPr>
      <a:lvl2pPr marL="742970" indent="-285758" algn="l" defTabSz="457212" rtl="0" eaLnBrk="1" latinLnBrk="0" hangingPunct="1">
        <a:spcBef>
          <a:spcPct val="20000"/>
        </a:spcBef>
        <a:buFont typeface="Arial"/>
        <a:buChar char="–"/>
        <a:defRPr sz="1101" kern="1200">
          <a:solidFill>
            <a:schemeClr val="tx1"/>
          </a:solidFill>
          <a:latin typeface="Gotham" panose="02000604030000020004" pitchFamily="50" charset="0"/>
          <a:ea typeface="+mn-ea"/>
          <a:cs typeface="Arial"/>
        </a:defRPr>
      </a:lvl2pPr>
      <a:lvl3pPr marL="1143033" indent="-228606" algn="l" defTabSz="457212" rtl="0" eaLnBrk="1" latinLnBrk="0" hangingPunct="1">
        <a:spcBef>
          <a:spcPct val="20000"/>
        </a:spcBef>
        <a:buFont typeface="Arial"/>
        <a:buChar char="•"/>
        <a:defRPr sz="1051" kern="1200">
          <a:solidFill>
            <a:schemeClr val="tx1"/>
          </a:solidFill>
          <a:latin typeface="Gotham" panose="02000604030000020004" pitchFamily="50" charset="0"/>
          <a:ea typeface="+mn-ea"/>
          <a:cs typeface="Arial"/>
        </a:defRPr>
      </a:lvl3pPr>
      <a:lvl4pPr marL="1600245" indent="-228606" algn="l" defTabSz="457212" rtl="0" eaLnBrk="1" latinLnBrk="0" hangingPunct="1">
        <a:spcBef>
          <a:spcPct val="20000"/>
        </a:spcBef>
        <a:buFont typeface="Arial"/>
        <a:buChar char="–"/>
        <a:defRPr sz="1000" kern="1200">
          <a:solidFill>
            <a:schemeClr val="tx1"/>
          </a:solidFill>
          <a:latin typeface="Gotham" panose="02000604030000020004" pitchFamily="50" charset="0"/>
          <a:ea typeface="+mn-ea"/>
          <a:cs typeface="Arial"/>
        </a:defRPr>
      </a:lvl4pPr>
      <a:lvl5pPr marL="2057457" indent="-228606" algn="l" defTabSz="457212" rtl="0" eaLnBrk="1" latinLnBrk="0" hangingPunct="1">
        <a:spcBef>
          <a:spcPct val="20000"/>
        </a:spcBef>
        <a:buFont typeface="Arial"/>
        <a:buChar char="»"/>
        <a:defRPr sz="1000" kern="1200">
          <a:solidFill>
            <a:schemeClr val="tx1"/>
          </a:solidFill>
          <a:latin typeface="Gotham" panose="02000604030000020004" pitchFamily="50" charset="0"/>
          <a:ea typeface="+mn-ea"/>
          <a:cs typeface="Arial"/>
        </a:defRPr>
      </a:lvl5pPr>
      <a:lvl6pPr marL="2514671" indent="-228606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84" indent="-228606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97" indent="-228606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09" indent="-228606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6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9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51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65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78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90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02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D9D5C2E7-9BFE-4DB8-8228-754489F701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2818688"/>
              </p:ext>
            </p:extLst>
          </p:nvPr>
        </p:nvGraphicFramePr>
        <p:xfrm>
          <a:off x="2120" y="2121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Diapositiva de think-cell" r:id="rId21" imgW="359" imgH="355" progId="TCLayout.ActiveDocument.1">
                  <p:embed/>
                </p:oleObj>
              </mc:Choice>
              <mc:Fallback>
                <p:oleObj name="Diapositiva de think-cell" r:id="rId21" imgW="359" imgH="355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D9D5C2E7-9BFE-4DB8-8228-754489F701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20" y="2121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AF927BB7-4AB2-49E5-9F7E-F3F3E0194A9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2" y="3"/>
            <a:ext cx="211668" cy="21166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_tradnl" sz="1600" b="1" i="0" baseline="0">
              <a:latin typeface="Gotham" panose="02000604030000020004"/>
              <a:ea typeface="+mj-ea"/>
              <a:cs typeface="Arial" panose="020B0604020202020204" pitchFamily="34" charset="0"/>
              <a:sym typeface="Gotham" panose="02000604030000020004"/>
            </a:endParaRP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393705" y="711205"/>
            <a:ext cx="11314031" cy="56827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2" name="Marcador de pie de página 1"/>
          <p:cNvSpPr>
            <a:spLocks noGrp="1"/>
          </p:cNvSpPr>
          <p:nvPr>
            <p:ph type="ftr" sz="quarter" idx="3"/>
          </p:nvPr>
        </p:nvSpPr>
        <p:spPr>
          <a:xfrm>
            <a:off x="4165600" y="6584444"/>
            <a:ext cx="3860800" cy="259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000">
                <a:solidFill>
                  <a:schemeClr val="accent6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pPr defTabSz="914426">
              <a:defRPr/>
            </a:pPr>
            <a:endParaRPr lang="es-CL">
              <a:solidFill>
                <a:srgbClr val="7F7F7F"/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4"/>
          </p:nvPr>
        </p:nvSpPr>
        <p:spPr>
          <a:xfrm>
            <a:off x="8862933" y="6584444"/>
            <a:ext cx="2844800" cy="259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accent6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pPr defTabSz="914426">
              <a:defRPr/>
            </a:pPr>
            <a:fld id="{0217D490-68AB-204F-891C-4DD422C3F883}" type="slidenum">
              <a:rPr lang="es-ES" smtClean="0">
                <a:solidFill>
                  <a:srgbClr val="7F7F7F"/>
                </a:solidFill>
              </a:rPr>
              <a:pPr defTabSz="914426">
                <a:defRPr/>
              </a:pPr>
              <a:t>‹Nº›</a:t>
            </a:fld>
            <a:endParaRPr lang="es-ES">
              <a:solidFill>
                <a:srgbClr val="7F7F7F"/>
              </a:solidFill>
            </a:endParaRP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2"/>
          </p:nvPr>
        </p:nvSpPr>
        <p:spPr>
          <a:xfrm>
            <a:off x="393701" y="6584444"/>
            <a:ext cx="2844800" cy="2592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accent6"/>
                </a:solidFill>
                <a:latin typeface="Gotham" panose="02000604030000020004" pitchFamily="50" charset="0"/>
                <a:cs typeface="Arial"/>
              </a:defRPr>
            </a:lvl1pPr>
          </a:lstStyle>
          <a:p>
            <a:pPr defTabSz="914426">
              <a:defRPr/>
            </a:pPr>
            <a:fld id="{A5B4B0EB-3C60-44F8-865C-EA5536DC9792}" type="datetimeFigureOut">
              <a:rPr lang="es-CL" smtClean="0">
                <a:solidFill>
                  <a:srgbClr val="7F7F7F"/>
                </a:solidFill>
              </a:rPr>
              <a:pPr defTabSz="914426">
                <a:defRPr/>
              </a:pPr>
              <a:t>16-12-2024</a:t>
            </a:fld>
            <a:endParaRPr lang="es-CL">
              <a:solidFill>
                <a:srgbClr val="7F7F7F"/>
              </a:solidFill>
            </a:endParaRPr>
          </a:p>
        </p:txBody>
      </p:sp>
      <p:sp>
        <p:nvSpPr>
          <p:cNvPr id="6" name="Marcador de título 5"/>
          <p:cNvSpPr>
            <a:spLocks noGrp="1"/>
          </p:cNvSpPr>
          <p:nvPr>
            <p:ph type="title"/>
          </p:nvPr>
        </p:nvSpPr>
        <p:spPr>
          <a:xfrm>
            <a:off x="393708" y="82781"/>
            <a:ext cx="10438809" cy="514529"/>
          </a:xfrm>
          <a:prstGeom prst="rect">
            <a:avLst/>
          </a:prstGeom>
          <a:solidFill>
            <a:srgbClr val="FFFFFF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pic>
        <p:nvPicPr>
          <p:cNvPr id="10" name="Imagen 9" descr="firma_metro_ppt2.png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7568" y="0"/>
            <a:ext cx="1234432" cy="1194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775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  <p:sldLayoutId id="2147483954" r:id="rId12"/>
    <p:sldLayoutId id="2147483955" r:id="rId13"/>
    <p:sldLayoutId id="2147483956" r:id="rId14"/>
    <p:sldLayoutId id="2147483957" r:id="rId15"/>
    <p:sldLayoutId id="2147483958" r:id="rId16"/>
  </p:sldLayoutIdLst>
  <p:txStyles>
    <p:titleStyle>
      <a:lvl1pPr algn="l" defTabSz="457212" rtl="0" eaLnBrk="1" latinLnBrk="0" hangingPunct="1">
        <a:lnSpc>
          <a:spcPct val="90000"/>
        </a:lnSpc>
        <a:spcBef>
          <a:spcPct val="0"/>
        </a:spcBef>
        <a:buNone/>
        <a:defRPr sz="1600" b="1" kern="1200">
          <a:solidFill>
            <a:schemeClr val="tx1"/>
          </a:solidFill>
          <a:latin typeface="Gotham" panose="02000604030000020004" pitchFamily="50" charset="0"/>
          <a:ea typeface="+mj-ea"/>
          <a:cs typeface="Arial"/>
        </a:defRPr>
      </a:lvl1pPr>
    </p:titleStyle>
    <p:bodyStyle>
      <a:lvl1pPr marL="342911" indent="-342911" algn="l" defTabSz="457212" rtl="0" eaLnBrk="1" latinLnBrk="0" hangingPunct="1">
        <a:spcBef>
          <a:spcPct val="20000"/>
        </a:spcBef>
        <a:buFont typeface="Arial"/>
        <a:buChar char="•"/>
        <a:defRPr sz="1200" kern="1200">
          <a:solidFill>
            <a:schemeClr val="tx1"/>
          </a:solidFill>
          <a:latin typeface="Gotham" panose="02000604030000020004" pitchFamily="50" charset="0"/>
          <a:ea typeface="+mn-ea"/>
          <a:cs typeface="Arial"/>
        </a:defRPr>
      </a:lvl1pPr>
      <a:lvl2pPr marL="742970" indent="-285758" algn="l" defTabSz="457212" rtl="0" eaLnBrk="1" latinLnBrk="0" hangingPunct="1">
        <a:spcBef>
          <a:spcPct val="20000"/>
        </a:spcBef>
        <a:buFont typeface="Arial"/>
        <a:buChar char="–"/>
        <a:defRPr sz="1101" kern="1200">
          <a:solidFill>
            <a:schemeClr val="tx1"/>
          </a:solidFill>
          <a:latin typeface="Gotham" panose="02000604030000020004" pitchFamily="50" charset="0"/>
          <a:ea typeface="+mn-ea"/>
          <a:cs typeface="Arial"/>
        </a:defRPr>
      </a:lvl2pPr>
      <a:lvl3pPr marL="1143033" indent="-228606" algn="l" defTabSz="457212" rtl="0" eaLnBrk="1" latinLnBrk="0" hangingPunct="1">
        <a:spcBef>
          <a:spcPct val="20000"/>
        </a:spcBef>
        <a:buFont typeface="Arial"/>
        <a:buChar char="•"/>
        <a:defRPr sz="1051" kern="1200">
          <a:solidFill>
            <a:schemeClr val="tx1"/>
          </a:solidFill>
          <a:latin typeface="Gotham" panose="02000604030000020004" pitchFamily="50" charset="0"/>
          <a:ea typeface="+mn-ea"/>
          <a:cs typeface="Arial"/>
        </a:defRPr>
      </a:lvl3pPr>
      <a:lvl4pPr marL="1600245" indent="-228606" algn="l" defTabSz="457212" rtl="0" eaLnBrk="1" latinLnBrk="0" hangingPunct="1">
        <a:spcBef>
          <a:spcPct val="20000"/>
        </a:spcBef>
        <a:buFont typeface="Arial"/>
        <a:buChar char="–"/>
        <a:defRPr sz="1000" kern="1200">
          <a:solidFill>
            <a:schemeClr val="tx1"/>
          </a:solidFill>
          <a:latin typeface="Gotham" panose="02000604030000020004" pitchFamily="50" charset="0"/>
          <a:ea typeface="+mn-ea"/>
          <a:cs typeface="Arial"/>
        </a:defRPr>
      </a:lvl4pPr>
      <a:lvl5pPr marL="2057457" indent="-228606" algn="l" defTabSz="457212" rtl="0" eaLnBrk="1" latinLnBrk="0" hangingPunct="1">
        <a:spcBef>
          <a:spcPct val="20000"/>
        </a:spcBef>
        <a:buFont typeface="Arial"/>
        <a:buChar char="»"/>
        <a:defRPr sz="1000" kern="1200">
          <a:solidFill>
            <a:schemeClr val="tx1"/>
          </a:solidFill>
          <a:latin typeface="Gotham" panose="02000604030000020004" pitchFamily="50" charset="0"/>
          <a:ea typeface="+mn-ea"/>
          <a:cs typeface="Arial"/>
        </a:defRPr>
      </a:lvl5pPr>
      <a:lvl6pPr marL="2514671" indent="-228606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84" indent="-228606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97" indent="-228606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09" indent="-228606" algn="l" defTabSz="4572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6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9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51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65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78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90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02" algn="l" defTabSz="4572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2401EF4-78BC-6E10-E688-63AE06456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19476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Diapositiva de think-cell" r:id="rId15" imgW="534" imgH="548" progId="TCLayout.ActiveDocument.1">
                  <p:embed/>
                </p:oleObj>
              </mc:Choice>
              <mc:Fallback>
                <p:oleObj name="Diapositiva de think-cell" r:id="rId15" imgW="534" imgH="5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401EF4-78BC-6E10-E688-63AE06456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id="{229D0E8D-CE73-7546-A8C9-7819AE7C1575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8985B09-FC7E-224D-9A82-C93745182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198" y="214397"/>
            <a:ext cx="8667974" cy="5746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6985985-AC12-9443-99EF-F4B86C24D4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9197" y="903515"/>
            <a:ext cx="11653605" cy="5740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31055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3" r:id="rId1"/>
    <p:sldLayoutId id="2147484004" r:id="rId2"/>
    <p:sldLayoutId id="2147484005" r:id="rId3"/>
    <p:sldLayoutId id="2147484006" r:id="rId4"/>
    <p:sldLayoutId id="2147484007" r:id="rId5"/>
    <p:sldLayoutId id="2147484008" r:id="rId6"/>
    <p:sldLayoutId id="2147484009" r:id="rId7"/>
    <p:sldLayoutId id="2147484010" r:id="rId8"/>
    <p:sldLayoutId id="2147484011" r:id="rId9"/>
    <p:sldLayoutId id="2147484023" r:id="rId10"/>
    <p:sldLayoutId id="21474840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Century Gothic" panose="020B0502020202020204" pitchFamily="34" charset="0"/>
          <a:ea typeface="+mj-ea"/>
          <a:cs typeface="Consolas" panose="020B0609020204030204" pitchFamily="49" charset="0"/>
        </a:defRPr>
      </a:lvl1pPr>
    </p:titleStyle>
    <p:bodyStyle>
      <a:lvl1pPr marL="228600" indent="-228600" algn="just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1pPr>
      <a:lvl2pPr marL="685800" indent="-228600" algn="just" defTabSz="914400" rtl="0" eaLnBrk="1" latinLnBrk="0" hangingPunct="1">
        <a:lnSpc>
          <a:spcPct val="90000"/>
        </a:lnSpc>
        <a:spcBef>
          <a:spcPts val="500"/>
        </a:spcBef>
        <a:buFont typeface="Century Gothic" panose="020B0502020202020204" pitchFamily="34" charset="0"/>
        <a:buChar char="−"/>
        <a:defRPr sz="12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2pPr>
      <a:lvl3pPr marL="1143000" indent="-228600" algn="just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3pPr>
      <a:lvl4pPr marL="1600200" indent="-228600" algn="just" defTabSz="914400" rtl="0" eaLnBrk="1" latinLnBrk="0" hangingPunct="1">
        <a:lnSpc>
          <a:spcPct val="90000"/>
        </a:lnSpc>
        <a:spcBef>
          <a:spcPts val="500"/>
        </a:spcBef>
        <a:buFont typeface="Century Gothic" panose="020B0502020202020204" pitchFamily="34" charset="0"/>
        <a:buChar char="−"/>
        <a:defRPr sz="105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4pPr>
      <a:lvl5pPr marL="2057400" indent="-228600" algn="just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2401EF4-78BC-6E10-E688-63AE06456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94763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Diapositiva de think-cell" r:id="rId13" imgW="534" imgH="548" progId="TCLayout.ActiveDocument.1">
                  <p:embed/>
                </p:oleObj>
              </mc:Choice>
              <mc:Fallback>
                <p:oleObj name="Diapositiva de think-cell" r:id="rId13" imgW="534" imgH="5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401EF4-78BC-6E10-E688-63AE06456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id="{229D0E8D-CE73-7546-A8C9-7819AE7C157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8985B09-FC7E-224D-9A82-C93745182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198" y="214397"/>
            <a:ext cx="8667974" cy="5746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6985985-AC12-9443-99EF-F4B86C24D4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9197" y="903515"/>
            <a:ext cx="11653605" cy="5740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59540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  <p:sldLayoutId id="2147484016" r:id="rId4"/>
    <p:sldLayoutId id="2147484017" r:id="rId5"/>
    <p:sldLayoutId id="2147484018" r:id="rId6"/>
    <p:sldLayoutId id="2147484019" r:id="rId7"/>
    <p:sldLayoutId id="2147484020" r:id="rId8"/>
    <p:sldLayoutId id="2147484021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Century Gothic" panose="020B0502020202020204" pitchFamily="34" charset="0"/>
          <a:ea typeface="+mj-ea"/>
          <a:cs typeface="Consolas" panose="020B0609020204030204" pitchFamily="49" charset="0"/>
        </a:defRPr>
      </a:lvl1pPr>
    </p:titleStyle>
    <p:bodyStyle>
      <a:lvl1pPr marL="228600" indent="-228600" algn="just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1pPr>
      <a:lvl2pPr marL="685800" indent="-228600" algn="just" defTabSz="914400" rtl="0" eaLnBrk="1" latinLnBrk="0" hangingPunct="1">
        <a:lnSpc>
          <a:spcPct val="90000"/>
        </a:lnSpc>
        <a:spcBef>
          <a:spcPts val="500"/>
        </a:spcBef>
        <a:buFont typeface="Century Gothic" panose="020B0502020202020204" pitchFamily="34" charset="0"/>
        <a:buChar char="−"/>
        <a:defRPr sz="12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2pPr>
      <a:lvl3pPr marL="1143000" indent="-228600" algn="just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3pPr>
      <a:lvl4pPr marL="1600200" indent="-228600" algn="just" defTabSz="914400" rtl="0" eaLnBrk="1" latinLnBrk="0" hangingPunct="1">
        <a:lnSpc>
          <a:spcPct val="90000"/>
        </a:lnSpc>
        <a:spcBef>
          <a:spcPts val="500"/>
        </a:spcBef>
        <a:buFont typeface="Century Gothic" panose="020B0502020202020204" pitchFamily="34" charset="0"/>
        <a:buChar char="−"/>
        <a:defRPr sz="105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4pPr>
      <a:lvl5pPr marL="2057400" indent="-228600" algn="just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869CC367-3D77-4F5A-9E3A-8CA4046DE9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087420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Diapositiva de think-cell" r:id="rId24" imgW="536" imgH="535" progId="TCLayout.ActiveDocument.1">
                  <p:embed/>
                </p:oleObj>
              </mc:Choice>
              <mc:Fallback>
                <p:oleObj name="Diapositiva de think-cell" r:id="rId24" imgW="536" imgH="535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869CC367-3D77-4F5A-9E3A-8CA4046DE9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>
            <a:extLst>
              <a:ext uri="{FF2B5EF4-FFF2-40B4-BE49-F238E27FC236}">
                <a16:creationId xmlns:a16="http://schemas.microsoft.com/office/drawing/2014/main" id="{229D0E8D-CE73-7546-A8C9-7819AE7C1575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9094221" y="214397"/>
            <a:ext cx="2828582" cy="574619"/>
          </a:xfrm>
          <a:prstGeom prst="rect">
            <a:avLst/>
          </a:prstGeom>
        </p:spPr>
      </p:pic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8985B09-FC7E-224D-9A82-C93745182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436" y="214397"/>
            <a:ext cx="8315735" cy="5746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C6985985-AC12-9443-99EF-F4B86C24D4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9197" y="903515"/>
            <a:ext cx="11653605" cy="57400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Elipse 3">
            <a:extLst>
              <a:ext uri="{FF2B5EF4-FFF2-40B4-BE49-F238E27FC236}">
                <a16:creationId xmlns:a16="http://schemas.microsoft.com/office/drawing/2014/main" id="{7C9004FD-9957-DA49-8470-D23AA6CA8406}"/>
              </a:ext>
            </a:extLst>
          </p:cNvPr>
          <p:cNvSpPr/>
          <p:nvPr userDrawn="1"/>
        </p:nvSpPr>
        <p:spPr>
          <a:xfrm>
            <a:off x="269197" y="377418"/>
            <a:ext cx="248575" cy="248575"/>
          </a:xfrm>
          <a:prstGeom prst="ellipse">
            <a:avLst/>
          </a:prstGeom>
          <a:solidFill>
            <a:srgbClr val="E427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25804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  <p:sldLayoutId id="2147484028" r:id="rId4"/>
    <p:sldLayoutId id="2147484029" r:id="rId5"/>
    <p:sldLayoutId id="2147484030" r:id="rId6"/>
    <p:sldLayoutId id="2147484031" r:id="rId7"/>
    <p:sldLayoutId id="2147484032" r:id="rId8"/>
    <p:sldLayoutId id="2147484033" r:id="rId9"/>
    <p:sldLayoutId id="2147484034" r:id="rId10"/>
    <p:sldLayoutId id="2147484035" r:id="rId11"/>
    <p:sldLayoutId id="2147484036" r:id="rId12"/>
    <p:sldLayoutId id="2147484037" r:id="rId13"/>
    <p:sldLayoutId id="2147484038" r:id="rId14"/>
    <p:sldLayoutId id="2147484039" r:id="rId15"/>
    <p:sldLayoutId id="2147484040" r:id="rId16"/>
    <p:sldLayoutId id="2147484041" r:id="rId17"/>
    <p:sldLayoutId id="2147484042" r:id="rId18"/>
    <p:sldLayoutId id="2147484043" r:id="rId19"/>
    <p:sldLayoutId id="2147484056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1">
              <a:lumMod val="50000"/>
            </a:schemeClr>
          </a:solidFill>
          <a:latin typeface="Century Gothic" panose="020B0502020202020204" pitchFamily="34" charset="0"/>
          <a:ea typeface="+mj-ea"/>
          <a:cs typeface="Consolas" panose="020B0609020204030204" pitchFamily="49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entury Gothic" panose="020B0502020202020204" pitchFamily="34" charset="0"/>
          <a:ea typeface="+mn-ea"/>
          <a:cs typeface="Consolas" panose="020B0609020204030204" pitchFamily="49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microsoft.com/office/2007/relationships/hdphoto" Target="../media/hdphoto3.wdp"/><Relationship Id="rId18" Type="http://schemas.microsoft.com/office/2007/relationships/hdphoto" Target="../media/hdphoto5.wdp"/><Relationship Id="rId26" Type="http://schemas.openxmlformats.org/officeDocument/2006/relationships/image" Target="../media/image38.png"/><Relationship Id="rId39" Type="http://schemas.microsoft.com/office/2007/relationships/hdphoto" Target="../media/hdphoto9.wdp"/><Relationship Id="rId21" Type="http://schemas.openxmlformats.org/officeDocument/2006/relationships/image" Target="../media/image34.jpeg"/><Relationship Id="rId34" Type="http://schemas.openxmlformats.org/officeDocument/2006/relationships/image" Target="../media/image43.png"/><Relationship Id="rId7" Type="http://schemas.openxmlformats.org/officeDocument/2006/relationships/image" Target="../media/image25.png"/><Relationship Id="rId12" Type="http://schemas.openxmlformats.org/officeDocument/2006/relationships/image" Target="../media/image28.png"/><Relationship Id="rId17" Type="http://schemas.openxmlformats.org/officeDocument/2006/relationships/image" Target="../media/image31.png"/><Relationship Id="rId25" Type="http://schemas.microsoft.com/office/2007/relationships/hdphoto" Target="../media/hdphoto6.wdp"/><Relationship Id="rId33" Type="http://schemas.openxmlformats.org/officeDocument/2006/relationships/image" Target="../media/image42.png"/><Relationship Id="rId38" Type="http://schemas.openxmlformats.org/officeDocument/2006/relationships/image" Target="../media/image46.png"/><Relationship Id="rId2" Type="http://schemas.openxmlformats.org/officeDocument/2006/relationships/tags" Target="../tags/tag16.xml"/><Relationship Id="rId16" Type="http://schemas.openxmlformats.org/officeDocument/2006/relationships/image" Target="../media/image30.png"/><Relationship Id="rId20" Type="http://schemas.openxmlformats.org/officeDocument/2006/relationships/image" Target="../media/image33.jpeg"/><Relationship Id="rId29" Type="http://schemas.openxmlformats.org/officeDocument/2006/relationships/image" Target="../media/image39.svg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11" Type="http://schemas.microsoft.com/office/2007/relationships/hdphoto" Target="../media/hdphoto2.wdp"/><Relationship Id="rId24" Type="http://schemas.openxmlformats.org/officeDocument/2006/relationships/image" Target="../media/image37.png"/><Relationship Id="rId32" Type="http://schemas.openxmlformats.org/officeDocument/2006/relationships/image" Target="../media/image41.png"/><Relationship Id="rId37" Type="http://schemas.microsoft.com/office/2007/relationships/hdphoto" Target="../media/hdphoto8.wdp"/><Relationship Id="rId5" Type="http://schemas.openxmlformats.org/officeDocument/2006/relationships/oleObject" Target="../embeddings/oleObject12.bin"/><Relationship Id="rId15" Type="http://schemas.microsoft.com/office/2007/relationships/hdphoto" Target="../media/hdphoto4.wdp"/><Relationship Id="rId23" Type="http://schemas.openxmlformats.org/officeDocument/2006/relationships/image" Target="../media/image36.jpeg"/><Relationship Id="rId28" Type="http://schemas.openxmlformats.org/officeDocument/2006/relationships/image" Target="../media/image39.png"/><Relationship Id="rId36" Type="http://schemas.openxmlformats.org/officeDocument/2006/relationships/image" Target="../media/image45.png"/><Relationship Id="rId10" Type="http://schemas.openxmlformats.org/officeDocument/2006/relationships/image" Target="../media/image27.png"/><Relationship Id="rId19" Type="http://schemas.openxmlformats.org/officeDocument/2006/relationships/image" Target="../media/image32.png"/><Relationship Id="rId31" Type="http://schemas.microsoft.com/office/2007/relationships/hdphoto" Target="../media/hdphoto7.wdp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6.png"/><Relationship Id="rId14" Type="http://schemas.openxmlformats.org/officeDocument/2006/relationships/image" Target="../media/image29.png"/><Relationship Id="rId22" Type="http://schemas.openxmlformats.org/officeDocument/2006/relationships/image" Target="../media/image35.jpeg"/><Relationship Id="rId27" Type="http://schemas.openxmlformats.org/officeDocument/2006/relationships/image" Target="../media/image37.svg"/><Relationship Id="rId30" Type="http://schemas.openxmlformats.org/officeDocument/2006/relationships/image" Target="../media/image40.png"/><Relationship Id="rId35" Type="http://schemas.openxmlformats.org/officeDocument/2006/relationships/image" Target="../media/image44.jpeg"/><Relationship Id="rId8" Type="http://schemas.microsoft.com/office/2007/relationships/hdphoto" Target="../media/hdphoto1.wdp"/><Relationship Id="rId3" Type="http://schemas.openxmlformats.org/officeDocument/2006/relationships/slideLayout" Target="../slideLayouts/slideLayout9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75.jpeg"/><Relationship Id="rId7" Type="http://schemas.openxmlformats.org/officeDocument/2006/relationships/image" Target="../media/image55.sv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55.png"/><Relationship Id="rId5" Type="http://schemas.openxmlformats.org/officeDocument/2006/relationships/slide" Target="slide7.xml"/><Relationship Id="rId4" Type="http://schemas.openxmlformats.org/officeDocument/2006/relationships/image" Target="../media/image7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80.png"/><Relationship Id="rId2" Type="http://schemas.openxmlformats.org/officeDocument/2006/relationships/slide" Target="slide7.xml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79.jpeg"/><Relationship Id="rId5" Type="http://schemas.openxmlformats.org/officeDocument/2006/relationships/image" Target="../media/image70.png"/><Relationship Id="rId4" Type="http://schemas.openxmlformats.org/officeDocument/2006/relationships/image" Target="../media/image55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82.jpeg"/><Relationship Id="rId7" Type="http://schemas.openxmlformats.org/officeDocument/2006/relationships/image" Target="../media/image55.sv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55.png"/><Relationship Id="rId5" Type="http://schemas.openxmlformats.org/officeDocument/2006/relationships/slide" Target="slide7.xml"/><Relationship Id="rId4" Type="http://schemas.openxmlformats.org/officeDocument/2006/relationships/image" Target="../media/image83.jpeg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13" Type="http://schemas.openxmlformats.org/officeDocument/2006/relationships/image" Target="../media/image85.svg"/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37.png"/><Relationship Id="rId12" Type="http://schemas.openxmlformats.org/officeDocument/2006/relationships/image" Target="../media/image85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7.emf"/><Relationship Id="rId11" Type="http://schemas.openxmlformats.org/officeDocument/2006/relationships/image" Target="../media/image55.svg"/><Relationship Id="rId5" Type="http://schemas.openxmlformats.org/officeDocument/2006/relationships/oleObject" Target="../embeddings/oleObject16.bin"/><Relationship Id="rId15" Type="http://schemas.openxmlformats.org/officeDocument/2006/relationships/image" Target="../media/image87.png"/><Relationship Id="rId10" Type="http://schemas.openxmlformats.org/officeDocument/2006/relationships/image" Target="../media/image84.png"/><Relationship Id="rId4" Type="http://schemas.openxmlformats.org/officeDocument/2006/relationships/notesSlide" Target="../notesSlides/notesSlide8.xml"/><Relationship Id="rId9" Type="http://schemas.openxmlformats.org/officeDocument/2006/relationships/slide" Target="slide7.xml"/><Relationship Id="rId14" Type="http://schemas.openxmlformats.org/officeDocument/2006/relationships/image" Target="../media/image8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89.jpeg"/><Relationship Id="rId7" Type="http://schemas.openxmlformats.org/officeDocument/2006/relationships/image" Target="../media/image90.pn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55.svg"/><Relationship Id="rId5" Type="http://schemas.openxmlformats.org/officeDocument/2006/relationships/image" Target="../media/image55.png"/><Relationship Id="rId4" Type="http://schemas.openxmlformats.org/officeDocument/2006/relationships/slide" Target="slide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Layout" Target="../slideLayouts/slideLayout89.xml"/><Relationship Id="rId7" Type="http://schemas.microsoft.com/office/2007/relationships/hdphoto" Target="../media/hdphoto10.wdp"/><Relationship Id="rId12" Type="http://schemas.openxmlformats.org/officeDocument/2006/relationships/image" Target="../media/image5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8.png"/><Relationship Id="rId11" Type="http://schemas.openxmlformats.org/officeDocument/2006/relationships/image" Target="../media/image51.png"/><Relationship Id="rId5" Type="http://schemas.openxmlformats.org/officeDocument/2006/relationships/image" Target="../media/image47.emf"/><Relationship Id="rId10" Type="http://schemas.microsoft.com/office/2007/relationships/hdphoto" Target="../media/hdphoto11.wdp"/><Relationship Id="rId4" Type="http://schemas.openxmlformats.org/officeDocument/2006/relationships/oleObject" Target="../embeddings/oleObject13.bin"/><Relationship Id="rId9" Type="http://schemas.openxmlformats.org/officeDocument/2006/relationships/image" Target="../media/image5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9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5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8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oleObject" Target="../embeddings/oleObject14.bin"/><Relationship Id="rId3" Type="http://schemas.openxmlformats.org/officeDocument/2006/relationships/tags" Target="../tags/tag19.xml"/><Relationship Id="rId21" Type="http://schemas.openxmlformats.org/officeDocument/2006/relationships/image" Target="../media/image52.png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notesSlide" Target="../notesSlides/notesSlide2.xml"/><Relationship Id="rId2" Type="http://schemas.openxmlformats.org/officeDocument/2006/relationships/tags" Target="../tags/tag18.xml"/><Relationship Id="rId16" Type="http://schemas.openxmlformats.org/officeDocument/2006/relationships/slideLayout" Target="../slideLayouts/slideLayout68.xml"/><Relationship Id="rId20" Type="http://schemas.openxmlformats.org/officeDocument/2006/relationships/image" Target="../media/image54.png"/><Relationship Id="rId1" Type="http://schemas.openxmlformats.org/officeDocument/2006/relationships/vmlDrawing" Target="../drawings/vmlDrawing14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image" Target="../media/image55.svg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23" Type="http://schemas.openxmlformats.org/officeDocument/2006/relationships/image" Target="../media/image55.png"/><Relationship Id="rId10" Type="http://schemas.openxmlformats.org/officeDocument/2006/relationships/tags" Target="../tags/tag26.xml"/><Relationship Id="rId19" Type="http://schemas.openxmlformats.org/officeDocument/2006/relationships/image" Target="../media/image47.emf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slide" Target="slide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59.png"/><Relationship Id="rId4" Type="http://schemas.openxmlformats.org/officeDocument/2006/relationships/image" Target="../media/image5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slideLayout" Target="../slideLayouts/slideLayout62.xml"/><Relationship Id="rId7" Type="http://schemas.openxmlformats.org/officeDocument/2006/relationships/image" Target="../media/image47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65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68.jpeg"/><Relationship Id="rId7" Type="http://schemas.openxmlformats.org/officeDocument/2006/relationships/image" Target="../media/image55.sv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55.png"/><Relationship Id="rId5" Type="http://schemas.openxmlformats.org/officeDocument/2006/relationships/slide" Target="slide7.xml"/><Relationship Id="rId4" Type="http://schemas.openxmlformats.org/officeDocument/2006/relationships/image" Target="../media/image6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7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6AB487F-BB15-C108-1A44-29A45B9334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Diapositiva de think-cell" r:id="rId5" imgW="395" imgH="394" progId="TCLayout.ActiveDocument.1">
                  <p:embed/>
                </p:oleObj>
              </mc:Choice>
              <mc:Fallback>
                <p:oleObj name="Diapositiva de think-cell" r:id="rId5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AB487F-BB15-C108-1A44-29A45B9334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>
            <a:extLst>
              <a:ext uri="{FF2B5EF4-FFF2-40B4-BE49-F238E27FC236}">
                <a16:creationId xmlns:a16="http://schemas.microsoft.com/office/drawing/2014/main" id="{B13D54E8-7BEF-62DA-443F-5B28253CEB0C}"/>
              </a:ext>
            </a:extLst>
          </p:cNvPr>
          <p:cNvSpPr/>
          <p:nvPr/>
        </p:nvSpPr>
        <p:spPr>
          <a:xfrm>
            <a:off x="0" y="-6275"/>
            <a:ext cx="1368000" cy="1386975"/>
          </a:xfrm>
          <a:prstGeom prst="rect">
            <a:avLst/>
          </a:prstGeom>
          <a:solidFill>
            <a:srgbClr val="9D458E"/>
          </a:solidFill>
          <a:ln>
            <a:solidFill>
              <a:srgbClr val="9D45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D76585E5-5BE5-969E-3784-BA73BD7BB79A}"/>
              </a:ext>
            </a:extLst>
          </p:cNvPr>
          <p:cNvSpPr/>
          <p:nvPr/>
        </p:nvSpPr>
        <p:spPr>
          <a:xfrm>
            <a:off x="0" y="1372500"/>
            <a:ext cx="1368000" cy="1368000"/>
          </a:xfrm>
          <a:prstGeom prst="rect">
            <a:avLst/>
          </a:prstGeom>
          <a:solidFill>
            <a:srgbClr val="9D458E"/>
          </a:solidFill>
          <a:ln>
            <a:solidFill>
              <a:srgbClr val="9D45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4044EFDB-DD19-C30C-69E9-4556CDFD8ABA}"/>
              </a:ext>
            </a:extLst>
          </p:cNvPr>
          <p:cNvSpPr/>
          <p:nvPr/>
        </p:nvSpPr>
        <p:spPr>
          <a:xfrm>
            <a:off x="0" y="2745000"/>
            <a:ext cx="1368000" cy="1368000"/>
          </a:xfrm>
          <a:prstGeom prst="rect">
            <a:avLst/>
          </a:prstGeom>
          <a:solidFill>
            <a:srgbClr val="DCAED4"/>
          </a:solidFill>
          <a:ln>
            <a:solidFill>
              <a:srgbClr val="DCAE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5AABB4D2-17CE-7C53-F086-EF029CF11B4D}"/>
              </a:ext>
            </a:extLst>
          </p:cNvPr>
          <p:cNvSpPr/>
          <p:nvPr/>
        </p:nvSpPr>
        <p:spPr>
          <a:xfrm>
            <a:off x="0" y="4117500"/>
            <a:ext cx="1368000" cy="136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FF637EA8-874E-D676-F20C-913C734C4B13}"/>
              </a:ext>
            </a:extLst>
          </p:cNvPr>
          <p:cNvSpPr/>
          <p:nvPr/>
        </p:nvSpPr>
        <p:spPr>
          <a:xfrm>
            <a:off x="0" y="5477300"/>
            <a:ext cx="1368000" cy="1368000"/>
          </a:xfrm>
          <a:prstGeom prst="rect">
            <a:avLst/>
          </a:prstGeom>
          <a:solidFill>
            <a:srgbClr val="DCAED4"/>
          </a:solidFill>
          <a:ln>
            <a:solidFill>
              <a:srgbClr val="DCAE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id="{70604286-F3C0-5EA7-410C-293DE7A54749}"/>
              </a:ext>
            </a:extLst>
          </p:cNvPr>
          <p:cNvSpPr/>
          <p:nvPr/>
        </p:nvSpPr>
        <p:spPr>
          <a:xfrm>
            <a:off x="1354875" y="-6275"/>
            <a:ext cx="1368000" cy="1386975"/>
          </a:xfrm>
          <a:prstGeom prst="rect">
            <a:avLst/>
          </a:prstGeom>
          <a:solidFill>
            <a:srgbClr val="9D458E"/>
          </a:solidFill>
          <a:ln>
            <a:solidFill>
              <a:srgbClr val="9D45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94F65133-C630-5312-765D-8A0202BBF4DF}"/>
              </a:ext>
            </a:extLst>
          </p:cNvPr>
          <p:cNvSpPr/>
          <p:nvPr/>
        </p:nvSpPr>
        <p:spPr>
          <a:xfrm>
            <a:off x="2709750" y="-6275"/>
            <a:ext cx="1368000" cy="13869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38221295-4768-A8F5-FFED-35529E585509}"/>
              </a:ext>
            </a:extLst>
          </p:cNvPr>
          <p:cNvSpPr/>
          <p:nvPr/>
        </p:nvSpPr>
        <p:spPr>
          <a:xfrm>
            <a:off x="4064625" y="-6275"/>
            <a:ext cx="1368000" cy="1386975"/>
          </a:xfrm>
          <a:prstGeom prst="rect">
            <a:avLst/>
          </a:prstGeom>
          <a:solidFill>
            <a:srgbClr val="C171B4"/>
          </a:solidFill>
          <a:ln>
            <a:solidFill>
              <a:srgbClr val="C171B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BA3D8325-D7B8-0949-460D-A0CB3204DB7E}"/>
              </a:ext>
            </a:extLst>
          </p:cNvPr>
          <p:cNvSpPr/>
          <p:nvPr/>
        </p:nvSpPr>
        <p:spPr>
          <a:xfrm>
            <a:off x="5419500" y="-6275"/>
            <a:ext cx="1368000" cy="1386975"/>
          </a:xfrm>
          <a:prstGeom prst="rect">
            <a:avLst/>
          </a:prstGeom>
          <a:solidFill>
            <a:srgbClr val="DCAED4"/>
          </a:solidFill>
          <a:ln>
            <a:solidFill>
              <a:srgbClr val="DCAE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73D32204-0467-656F-FA99-EF72239951E9}"/>
              </a:ext>
            </a:extLst>
          </p:cNvPr>
          <p:cNvSpPr/>
          <p:nvPr/>
        </p:nvSpPr>
        <p:spPr>
          <a:xfrm>
            <a:off x="6774375" y="-6275"/>
            <a:ext cx="1368000" cy="1386975"/>
          </a:xfrm>
          <a:prstGeom prst="rect">
            <a:avLst/>
          </a:prstGeom>
          <a:solidFill>
            <a:srgbClr val="9D458E"/>
          </a:solidFill>
          <a:ln>
            <a:solidFill>
              <a:srgbClr val="9D45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ángulo 15">
            <a:extLst>
              <a:ext uri="{FF2B5EF4-FFF2-40B4-BE49-F238E27FC236}">
                <a16:creationId xmlns:a16="http://schemas.microsoft.com/office/drawing/2014/main" id="{F74707FF-A30E-F442-0B59-4DA9CE75BE8E}"/>
              </a:ext>
            </a:extLst>
          </p:cNvPr>
          <p:cNvSpPr/>
          <p:nvPr/>
        </p:nvSpPr>
        <p:spPr>
          <a:xfrm>
            <a:off x="8129250" y="-6275"/>
            <a:ext cx="1368000" cy="1386975"/>
          </a:xfrm>
          <a:prstGeom prst="rect">
            <a:avLst/>
          </a:prstGeom>
          <a:solidFill>
            <a:srgbClr val="DCAED4"/>
          </a:solidFill>
          <a:ln>
            <a:solidFill>
              <a:srgbClr val="DCAE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6E9B4AA1-1D43-69F7-C443-0B9ABE6DFDA4}"/>
              </a:ext>
            </a:extLst>
          </p:cNvPr>
          <p:cNvSpPr/>
          <p:nvPr/>
        </p:nvSpPr>
        <p:spPr>
          <a:xfrm>
            <a:off x="9484125" y="-6275"/>
            <a:ext cx="1368000" cy="1386975"/>
          </a:xfrm>
          <a:prstGeom prst="rect">
            <a:avLst/>
          </a:prstGeom>
          <a:solidFill>
            <a:srgbClr val="DCAED4"/>
          </a:solidFill>
          <a:ln>
            <a:solidFill>
              <a:srgbClr val="DCAE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ángulo 17">
            <a:extLst>
              <a:ext uri="{FF2B5EF4-FFF2-40B4-BE49-F238E27FC236}">
                <a16:creationId xmlns:a16="http://schemas.microsoft.com/office/drawing/2014/main" id="{F66460DC-F650-681E-F291-7BCAFF61FBBC}"/>
              </a:ext>
            </a:extLst>
          </p:cNvPr>
          <p:cNvSpPr/>
          <p:nvPr/>
        </p:nvSpPr>
        <p:spPr>
          <a:xfrm>
            <a:off x="10839000" y="-6275"/>
            <a:ext cx="1368000" cy="1386975"/>
          </a:xfrm>
          <a:prstGeom prst="rect">
            <a:avLst/>
          </a:prstGeom>
          <a:solidFill>
            <a:srgbClr val="9D458E"/>
          </a:solidFill>
          <a:ln>
            <a:solidFill>
              <a:srgbClr val="9D45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1FBDBCDA-1CB3-8C13-0831-2E5904F9D4A4}"/>
              </a:ext>
            </a:extLst>
          </p:cNvPr>
          <p:cNvSpPr/>
          <p:nvPr/>
        </p:nvSpPr>
        <p:spPr>
          <a:xfrm>
            <a:off x="1354875" y="1372500"/>
            <a:ext cx="1368000" cy="1368000"/>
          </a:xfrm>
          <a:prstGeom prst="rect">
            <a:avLst/>
          </a:prstGeom>
          <a:solidFill>
            <a:srgbClr val="9D458E"/>
          </a:solidFill>
          <a:ln>
            <a:solidFill>
              <a:srgbClr val="9D45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52B147B5-F99D-BF59-2E8C-D59F67B7798E}"/>
              </a:ext>
            </a:extLst>
          </p:cNvPr>
          <p:cNvSpPr/>
          <p:nvPr/>
        </p:nvSpPr>
        <p:spPr>
          <a:xfrm>
            <a:off x="2703754" y="1372500"/>
            <a:ext cx="1368000" cy="1368000"/>
          </a:xfrm>
          <a:prstGeom prst="rect">
            <a:avLst/>
          </a:prstGeom>
          <a:solidFill>
            <a:srgbClr val="C171B4"/>
          </a:solidFill>
          <a:ln>
            <a:solidFill>
              <a:srgbClr val="C171B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A3621EED-9E52-FC94-D8FE-8021F486433F}"/>
              </a:ext>
            </a:extLst>
          </p:cNvPr>
          <p:cNvSpPr/>
          <p:nvPr/>
        </p:nvSpPr>
        <p:spPr>
          <a:xfrm>
            <a:off x="4064625" y="1372500"/>
            <a:ext cx="1368000" cy="1368000"/>
          </a:xfrm>
          <a:prstGeom prst="rect">
            <a:avLst/>
          </a:prstGeom>
          <a:solidFill>
            <a:srgbClr val="9D458E"/>
          </a:solidFill>
          <a:ln>
            <a:solidFill>
              <a:srgbClr val="9D45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9E402E69-6990-4C1F-9E18-CD06CBBCDAD4}"/>
              </a:ext>
            </a:extLst>
          </p:cNvPr>
          <p:cNvSpPr/>
          <p:nvPr/>
        </p:nvSpPr>
        <p:spPr>
          <a:xfrm>
            <a:off x="5419500" y="1372500"/>
            <a:ext cx="1368000" cy="1368000"/>
          </a:xfrm>
          <a:prstGeom prst="rect">
            <a:avLst/>
          </a:prstGeom>
          <a:solidFill>
            <a:srgbClr val="DCAED4"/>
          </a:solidFill>
          <a:ln>
            <a:solidFill>
              <a:srgbClr val="DCAE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A8138DF9-0D3A-2A5B-9094-45E3B3DA8E57}"/>
              </a:ext>
            </a:extLst>
          </p:cNvPr>
          <p:cNvSpPr/>
          <p:nvPr/>
        </p:nvSpPr>
        <p:spPr>
          <a:xfrm>
            <a:off x="6774375" y="1372500"/>
            <a:ext cx="1368000" cy="136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340BD6E1-FDC4-8ECB-6871-679D93245EF3}"/>
              </a:ext>
            </a:extLst>
          </p:cNvPr>
          <p:cNvSpPr/>
          <p:nvPr/>
        </p:nvSpPr>
        <p:spPr>
          <a:xfrm>
            <a:off x="8129250" y="1372500"/>
            <a:ext cx="1368000" cy="1368000"/>
          </a:xfrm>
          <a:prstGeom prst="rect">
            <a:avLst/>
          </a:prstGeom>
          <a:solidFill>
            <a:srgbClr val="DCAED4"/>
          </a:solidFill>
          <a:ln>
            <a:solidFill>
              <a:srgbClr val="DCAE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63A19E49-D7AC-AD63-CF1C-6D6222CF4304}"/>
              </a:ext>
            </a:extLst>
          </p:cNvPr>
          <p:cNvSpPr/>
          <p:nvPr/>
        </p:nvSpPr>
        <p:spPr>
          <a:xfrm>
            <a:off x="9484125" y="1372500"/>
            <a:ext cx="1368000" cy="1368000"/>
          </a:xfrm>
          <a:prstGeom prst="rect">
            <a:avLst/>
          </a:prstGeom>
          <a:solidFill>
            <a:srgbClr val="DCAED4"/>
          </a:solidFill>
          <a:ln>
            <a:solidFill>
              <a:srgbClr val="DCAE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DCB6F29B-93F1-F190-D87F-6B6137FC56E5}"/>
              </a:ext>
            </a:extLst>
          </p:cNvPr>
          <p:cNvSpPr/>
          <p:nvPr/>
        </p:nvSpPr>
        <p:spPr>
          <a:xfrm>
            <a:off x="10839000" y="1374750"/>
            <a:ext cx="1368000" cy="1368000"/>
          </a:xfrm>
          <a:prstGeom prst="rect">
            <a:avLst/>
          </a:prstGeom>
          <a:solidFill>
            <a:srgbClr val="C171B4"/>
          </a:solidFill>
          <a:ln>
            <a:solidFill>
              <a:srgbClr val="C171B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F6BB4FFF-CE2E-474A-D24F-100BFCF23EE2}"/>
              </a:ext>
            </a:extLst>
          </p:cNvPr>
          <p:cNvSpPr/>
          <p:nvPr/>
        </p:nvSpPr>
        <p:spPr>
          <a:xfrm>
            <a:off x="1354875" y="2745000"/>
            <a:ext cx="1368000" cy="1368000"/>
          </a:xfrm>
          <a:prstGeom prst="rect">
            <a:avLst/>
          </a:prstGeom>
          <a:solidFill>
            <a:srgbClr val="C171B4"/>
          </a:solidFill>
          <a:ln>
            <a:solidFill>
              <a:srgbClr val="C171B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AAEC54CB-3AE0-77CC-3556-1FCA45EA1576}"/>
              </a:ext>
            </a:extLst>
          </p:cNvPr>
          <p:cNvSpPr/>
          <p:nvPr/>
        </p:nvSpPr>
        <p:spPr>
          <a:xfrm>
            <a:off x="2709750" y="2745000"/>
            <a:ext cx="1368000" cy="1368000"/>
          </a:xfrm>
          <a:prstGeom prst="rect">
            <a:avLst/>
          </a:prstGeom>
          <a:solidFill>
            <a:srgbClr val="DCAED4"/>
          </a:solidFill>
          <a:ln>
            <a:solidFill>
              <a:srgbClr val="DCAE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ángulo 28">
            <a:extLst>
              <a:ext uri="{FF2B5EF4-FFF2-40B4-BE49-F238E27FC236}">
                <a16:creationId xmlns:a16="http://schemas.microsoft.com/office/drawing/2014/main" id="{A0A73AFC-0F61-98A3-7ED6-42180A92BC6D}"/>
              </a:ext>
            </a:extLst>
          </p:cNvPr>
          <p:cNvSpPr/>
          <p:nvPr/>
        </p:nvSpPr>
        <p:spPr>
          <a:xfrm>
            <a:off x="4064625" y="2745000"/>
            <a:ext cx="1368000" cy="136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4507C2BE-85FA-25B5-616C-805141658006}"/>
              </a:ext>
            </a:extLst>
          </p:cNvPr>
          <p:cNvSpPr/>
          <p:nvPr/>
        </p:nvSpPr>
        <p:spPr>
          <a:xfrm>
            <a:off x="5419500" y="2745000"/>
            <a:ext cx="1368000" cy="1368000"/>
          </a:xfrm>
          <a:prstGeom prst="rect">
            <a:avLst/>
          </a:prstGeom>
          <a:solidFill>
            <a:srgbClr val="9D458E"/>
          </a:solidFill>
          <a:ln>
            <a:solidFill>
              <a:srgbClr val="9D45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41603D82-5F52-6453-113E-131473AF68BD}"/>
              </a:ext>
            </a:extLst>
          </p:cNvPr>
          <p:cNvSpPr/>
          <p:nvPr/>
        </p:nvSpPr>
        <p:spPr>
          <a:xfrm>
            <a:off x="6774375" y="2745000"/>
            <a:ext cx="1368000" cy="1368000"/>
          </a:xfrm>
          <a:prstGeom prst="rect">
            <a:avLst/>
          </a:prstGeom>
          <a:solidFill>
            <a:srgbClr val="C171B4"/>
          </a:solidFill>
          <a:ln>
            <a:solidFill>
              <a:srgbClr val="C171B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33B2D47A-6B76-D4E7-2728-116EAC7B191D}"/>
              </a:ext>
            </a:extLst>
          </p:cNvPr>
          <p:cNvSpPr/>
          <p:nvPr/>
        </p:nvSpPr>
        <p:spPr>
          <a:xfrm>
            <a:off x="8129250" y="2745000"/>
            <a:ext cx="1368000" cy="1368000"/>
          </a:xfrm>
          <a:prstGeom prst="rect">
            <a:avLst/>
          </a:prstGeom>
          <a:solidFill>
            <a:srgbClr val="C171B4"/>
          </a:solidFill>
          <a:ln>
            <a:solidFill>
              <a:srgbClr val="C171B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A5D5CB47-2639-AFDB-B819-79B650BC2989}"/>
              </a:ext>
            </a:extLst>
          </p:cNvPr>
          <p:cNvSpPr/>
          <p:nvPr/>
        </p:nvSpPr>
        <p:spPr>
          <a:xfrm>
            <a:off x="9486000" y="2747250"/>
            <a:ext cx="1368000" cy="1368000"/>
          </a:xfrm>
          <a:prstGeom prst="rect">
            <a:avLst/>
          </a:prstGeom>
          <a:solidFill>
            <a:srgbClr val="C171B4"/>
          </a:solidFill>
          <a:ln>
            <a:solidFill>
              <a:srgbClr val="C171B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4D2423C1-2675-EAFC-16D4-35ADC533308C}"/>
              </a:ext>
            </a:extLst>
          </p:cNvPr>
          <p:cNvSpPr/>
          <p:nvPr/>
        </p:nvSpPr>
        <p:spPr>
          <a:xfrm>
            <a:off x="10839000" y="2747250"/>
            <a:ext cx="1368000" cy="136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8CC2BD58-6A87-A0B5-82BA-CA79C2E349D8}"/>
              </a:ext>
            </a:extLst>
          </p:cNvPr>
          <p:cNvSpPr/>
          <p:nvPr/>
        </p:nvSpPr>
        <p:spPr>
          <a:xfrm>
            <a:off x="1354875" y="4117500"/>
            <a:ext cx="1368000" cy="1368000"/>
          </a:xfrm>
          <a:prstGeom prst="rect">
            <a:avLst/>
          </a:prstGeom>
          <a:solidFill>
            <a:srgbClr val="9D458E"/>
          </a:solidFill>
          <a:ln>
            <a:solidFill>
              <a:srgbClr val="9D458E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E08FBE17-5B6C-5ECE-262E-9F64F38C2051}"/>
              </a:ext>
            </a:extLst>
          </p:cNvPr>
          <p:cNvSpPr/>
          <p:nvPr/>
        </p:nvSpPr>
        <p:spPr>
          <a:xfrm>
            <a:off x="2709750" y="4117500"/>
            <a:ext cx="1368000" cy="1368000"/>
          </a:xfrm>
          <a:prstGeom prst="rect">
            <a:avLst/>
          </a:prstGeom>
          <a:solidFill>
            <a:srgbClr val="C171B4"/>
          </a:solidFill>
          <a:ln>
            <a:solidFill>
              <a:srgbClr val="C171B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EABD5E98-5056-CC60-624F-8E886974BFD9}"/>
              </a:ext>
            </a:extLst>
          </p:cNvPr>
          <p:cNvSpPr/>
          <p:nvPr/>
        </p:nvSpPr>
        <p:spPr>
          <a:xfrm>
            <a:off x="4064625" y="4117500"/>
            <a:ext cx="1368000" cy="1368000"/>
          </a:xfrm>
          <a:prstGeom prst="rect">
            <a:avLst/>
          </a:prstGeom>
          <a:solidFill>
            <a:srgbClr val="C171B4"/>
          </a:solidFill>
          <a:ln>
            <a:solidFill>
              <a:srgbClr val="C171B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A17C92DB-E32D-1E1E-E05A-A0C463EF2556}"/>
              </a:ext>
            </a:extLst>
          </p:cNvPr>
          <p:cNvSpPr/>
          <p:nvPr/>
        </p:nvSpPr>
        <p:spPr>
          <a:xfrm>
            <a:off x="1354875" y="5477300"/>
            <a:ext cx="1368000" cy="1368000"/>
          </a:xfrm>
          <a:prstGeom prst="rect">
            <a:avLst/>
          </a:prstGeom>
          <a:solidFill>
            <a:srgbClr val="DCAED4"/>
          </a:solidFill>
          <a:ln>
            <a:solidFill>
              <a:srgbClr val="DCAED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id="{B641BC54-811F-D232-80D5-CFA528B90718}"/>
              </a:ext>
            </a:extLst>
          </p:cNvPr>
          <p:cNvSpPr/>
          <p:nvPr/>
        </p:nvSpPr>
        <p:spPr>
          <a:xfrm>
            <a:off x="2709750" y="5477300"/>
            <a:ext cx="1368000" cy="1368000"/>
          </a:xfrm>
          <a:prstGeom prst="rect">
            <a:avLst/>
          </a:prstGeom>
          <a:solidFill>
            <a:srgbClr val="C171B4"/>
          </a:solidFill>
          <a:ln>
            <a:solidFill>
              <a:srgbClr val="C171B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id="{47FEED81-3AD4-C833-2A0E-D659036ED962}"/>
              </a:ext>
            </a:extLst>
          </p:cNvPr>
          <p:cNvSpPr/>
          <p:nvPr/>
        </p:nvSpPr>
        <p:spPr>
          <a:xfrm>
            <a:off x="4064625" y="5477300"/>
            <a:ext cx="1368000" cy="1368000"/>
          </a:xfrm>
          <a:prstGeom prst="rect">
            <a:avLst/>
          </a:prstGeom>
          <a:solidFill>
            <a:srgbClr val="C171B4"/>
          </a:solidFill>
          <a:ln>
            <a:solidFill>
              <a:srgbClr val="C171B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8" name="Grupo 57">
            <a:extLst>
              <a:ext uri="{FF2B5EF4-FFF2-40B4-BE49-F238E27FC236}">
                <a16:creationId xmlns:a16="http://schemas.microsoft.com/office/drawing/2014/main" id="{2B9D0761-50CF-3D0D-C9BF-6707D706E9B0}"/>
              </a:ext>
            </a:extLst>
          </p:cNvPr>
          <p:cNvGrpSpPr/>
          <p:nvPr/>
        </p:nvGrpSpPr>
        <p:grpSpPr>
          <a:xfrm>
            <a:off x="5419500" y="4117500"/>
            <a:ext cx="6787500" cy="1368000"/>
            <a:chOff x="5419500" y="4117500"/>
            <a:chExt cx="6787500" cy="1368000"/>
          </a:xfrm>
          <a:solidFill>
            <a:schemeClr val="bg1">
              <a:lumMod val="85000"/>
            </a:schemeClr>
          </a:solidFill>
        </p:grpSpPr>
        <p:sp>
          <p:nvSpPr>
            <p:cNvPr id="38" name="Rectángulo 37">
              <a:extLst>
                <a:ext uri="{FF2B5EF4-FFF2-40B4-BE49-F238E27FC236}">
                  <a16:creationId xmlns:a16="http://schemas.microsoft.com/office/drawing/2014/main" id="{15E177C6-A2F2-4CFA-B8D7-CEFA7631C6EE}"/>
                </a:ext>
              </a:extLst>
            </p:cNvPr>
            <p:cNvSpPr/>
            <p:nvPr/>
          </p:nvSpPr>
          <p:spPr>
            <a:xfrm>
              <a:off x="5419500" y="4117500"/>
              <a:ext cx="1368000" cy="1368000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Rectángulo 38">
              <a:extLst>
                <a:ext uri="{FF2B5EF4-FFF2-40B4-BE49-F238E27FC236}">
                  <a16:creationId xmlns:a16="http://schemas.microsoft.com/office/drawing/2014/main" id="{9855B8DF-80FE-DAF7-855C-09320968B9F8}"/>
                </a:ext>
              </a:extLst>
            </p:cNvPr>
            <p:cNvSpPr/>
            <p:nvPr/>
          </p:nvSpPr>
          <p:spPr>
            <a:xfrm>
              <a:off x="6774375" y="4117500"/>
              <a:ext cx="1368000" cy="1368000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Rectángulo 39">
              <a:extLst>
                <a:ext uri="{FF2B5EF4-FFF2-40B4-BE49-F238E27FC236}">
                  <a16:creationId xmlns:a16="http://schemas.microsoft.com/office/drawing/2014/main" id="{453C0EB6-108C-EC83-E383-1E0A52AFE870}"/>
                </a:ext>
              </a:extLst>
            </p:cNvPr>
            <p:cNvSpPr/>
            <p:nvPr/>
          </p:nvSpPr>
          <p:spPr>
            <a:xfrm>
              <a:off x="8129250" y="4117500"/>
              <a:ext cx="1368000" cy="1368000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Rectángulo 40">
              <a:extLst>
                <a:ext uri="{FF2B5EF4-FFF2-40B4-BE49-F238E27FC236}">
                  <a16:creationId xmlns:a16="http://schemas.microsoft.com/office/drawing/2014/main" id="{4BFC2CB9-2E2C-36AE-E6A6-5A0FF6F2CC4A}"/>
                </a:ext>
              </a:extLst>
            </p:cNvPr>
            <p:cNvSpPr/>
            <p:nvPr/>
          </p:nvSpPr>
          <p:spPr>
            <a:xfrm>
              <a:off x="9484125" y="4117500"/>
              <a:ext cx="1368000" cy="1368000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ángulo 41">
              <a:extLst>
                <a:ext uri="{FF2B5EF4-FFF2-40B4-BE49-F238E27FC236}">
                  <a16:creationId xmlns:a16="http://schemas.microsoft.com/office/drawing/2014/main" id="{E275594F-344B-325C-9DB9-9157553BFC66}"/>
                </a:ext>
              </a:extLst>
            </p:cNvPr>
            <p:cNvSpPr/>
            <p:nvPr/>
          </p:nvSpPr>
          <p:spPr>
            <a:xfrm>
              <a:off x="10839000" y="4117500"/>
              <a:ext cx="1368000" cy="1368000"/>
            </a:xfrm>
            <a:prstGeom prst="rect">
              <a:avLst/>
            </a:prstGeom>
            <a:grp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6" name="Rectángulo 45">
            <a:extLst>
              <a:ext uri="{FF2B5EF4-FFF2-40B4-BE49-F238E27FC236}">
                <a16:creationId xmlns:a16="http://schemas.microsoft.com/office/drawing/2014/main" id="{D92B73B1-E27E-25E3-566F-A59F0F8960E7}"/>
              </a:ext>
            </a:extLst>
          </p:cNvPr>
          <p:cNvSpPr/>
          <p:nvPr/>
        </p:nvSpPr>
        <p:spPr>
          <a:xfrm>
            <a:off x="5419500" y="5477300"/>
            <a:ext cx="1368000" cy="136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id="{B6D9E07F-46F9-368E-E1D2-94E9B2ADF656}"/>
              </a:ext>
            </a:extLst>
          </p:cNvPr>
          <p:cNvSpPr/>
          <p:nvPr/>
        </p:nvSpPr>
        <p:spPr>
          <a:xfrm>
            <a:off x="6774375" y="5477300"/>
            <a:ext cx="1368000" cy="136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Rectángulo 47">
            <a:extLst>
              <a:ext uri="{FF2B5EF4-FFF2-40B4-BE49-F238E27FC236}">
                <a16:creationId xmlns:a16="http://schemas.microsoft.com/office/drawing/2014/main" id="{05646849-6FA8-9899-F6A1-2157709BBE99}"/>
              </a:ext>
            </a:extLst>
          </p:cNvPr>
          <p:cNvSpPr/>
          <p:nvPr/>
        </p:nvSpPr>
        <p:spPr>
          <a:xfrm>
            <a:off x="8129250" y="5477300"/>
            <a:ext cx="1368000" cy="136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Rectángulo 48">
            <a:extLst>
              <a:ext uri="{FF2B5EF4-FFF2-40B4-BE49-F238E27FC236}">
                <a16:creationId xmlns:a16="http://schemas.microsoft.com/office/drawing/2014/main" id="{FB5EA192-A0D9-BB6A-FB6C-3CAA6D00D6DB}"/>
              </a:ext>
            </a:extLst>
          </p:cNvPr>
          <p:cNvSpPr/>
          <p:nvPr/>
        </p:nvSpPr>
        <p:spPr>
          <a:xfrm>
            <a:off x="9484125" y="5477300"/>
            <a:ext cx="1368000" cy="136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64C93EAE-C29A-248F-CEF4-F64ABA221ED7}"/>
              </a:ext>
            </a:extLst>
          </p:cNvPr>
          <p:cNvSpPr/>
          <p:nvPr/>
        </p:nvSpPr>
        <p:spPr>
          <a:xfrm>
            <a:off x="10839000" y="5477300"/>
            <a:ext cx="1368000" cy="136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B1EEBDD3-D756-97A0-D041-822C58D6F164}"/>
              </a:ext>
            </a:extLst>
          </p:cNvPr>
          <p:cNvSpPr txBox="1"/>
          <p:nvPr/>
        </p:nvSpPr>
        <p:spPr>
          <a:xfrm>
            <a:off x="5495221" y="4419229"/>
            <a:ext cx="6711779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4000" b="1" i="0" u="none" strike="noStrike" kern="1200" cap="none" spc="0" normalizeH="0" baseline="0" noProof="0">
                <a:ln>
                  <a:noFill/>
                </a:ln>
                <a:solidFill>
                  <a:srgbClr val="9D458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valorización interior de estaciones en red convencional</a:t>
            </a:r>
            <a:br>
              <a:rPr kumimoji="0" lang="es-MX" sz="4000" b="1" i="0" u="none" strike="noStrike" kern="1200" cap="none" spc="0" normalizeH="0" baseline="0" noProof="0">
                <a:ln>
                  <a:noFill/>
                </a:ln>
                <a:solidFill>
                  <a:srgbClr val="9D458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</a:br>
            <a:r>
              <a:rPr kumimoji="0" lang="es-MX" sz="1800" b="1" i="0" u="none" strike="noStrike" kern="1200" cap="none" spc="0" normalizeH="0" baseline="0" noProof="0">
                <a:ln>
                  <a:noFill/>
                </a:ln>
                <a:solidFill>
                  <a:srgbClr val="9D458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tro de Santiago</a:t>
            </a:r>
            <a:endParaRPr kumimoji="0" lang="es-CL" sz="3200" b="1" i="0" u="none" strike="noStrike" kern="1200" cap="none" spc="0" normalizeH="0" baseline="0" noProof="0">
              <a:ln>
                <a:noFill/>
              </a:ln>
              <a:solidFill>
                <a:srgbClr val="9D458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59" name="Imagen 58" descr="Imagen que contiene interior, lego, juguete, tabla&#10;&#10;Descripción generada automáticamente">
            <a:extLst>
              <a:ext uri="{FF2B5EF4-FFF2-40B4-BE49-F238E27FC236}">
                <a16:creationId xmlns:a16="http://schemas.microsoft.com/office/drawing/2014/main" id="{1FF313D0-C982-6051-EEC8-057AFDFDD7E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55551" b="73476" l="57304" r="74355">
                        <a14:foregroundMark x1="57304" y1="69843" x2="57304" y2="69843"/>
                        <a14:foregroundMark x1="61312" y1="73476" x2="61312" y2="73476"/>
                        <a14:foregroundMark x1="59308" y1="64271" x2="59308" y2="64271"/>
                        <a14:foregroundMark x1="64003" y1="68147" x2="64003" y2="68147"/>
                        <a14:foregroundMark x1="69028" y1="64029" x2="69028" y2="64029"/>
                        <a14:foregroundMark x1="73751" y1="59790" x2="73751" y2="59790"/>
                        <a14:foregroundMark x1="64278" y1="60073" x2="64278" y2="60073"/>
                        <a14:foregroundMark x1="69138" y1="55793" x2="69138" y2="55793"/>
                        <a14:foregroundMark x1="74355" y1="60517" x2="74355" y2="60517"/>
                        <a14:foregroundMark x1="70977" y1="55551" x2="70977" y2="55551"/>
                        <a14:foregroundMark x1="68973" y1="55551" x2="68973" y2="5555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5515" t="54004" r="24966" b="24971"/>
          <a:stretch/>
        </p:blipFill>
        <p:spPr>
          <a:xfrm>
            <a:off x="2636917" y="4630993"/>
            <a:ext cx="2586839" cy="1895010"/>
          </a:xfrm>
          <a:prstGeom prst="rect">
            <a:avLst/>
          </a:prstGeom>
        </p:spPr>
      </p:pic>
      <p:pic>
        <p:nvPicPr>
          <p:cNvPr id="60" name="Imagen 59" descr="Imagen que contiene interior, lego, juguete, tabla&#10;&#10;Descripción generada automáticamente">
            <a:extLst>
              <a:ext uri="{FF2B5EF4-FFF2-40B4-BE49-F238E27FC236}">
                <a16:creationId xmlns:a16="http://schemas.microsoft.com/office/drawing/2014/main" id="{FECC74DD-F6A0-45D8-0BAF-79C6CD896304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29996" b="52160" l="57414" r="75069">
                        <a14:foregroundMark x1="62630" y1="30198" x2="62630" y2="30198"/>
                        <a14:foregroundMark x1="68726" y1="52200" x2="68726" y2="52200"/>
                        <a14:foregroundMark x1="57414" y1="34114" x2="57414" y2="3411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5259" t="27353" r="22725" b="45425"/>
          <a:stretch/>
        </p:blipFill>
        <p:spPr>
          <a:xfrm>
            <a:off x="44256" y="246429"/>
            <a:ext cx="2826803" cy="2376975"/>
          </a:xfrm>
          <a:prstGeom prst="rect">
            <a:avLst/>
          </a:prstGeom>
        </p:spPr>
      </p:pic>
      <p:pic>
        <p:nvPicPr>
          <p:cNvPr id="61" name="Imagen 60" descr="Forma&#10;&#10;Descripción generada automáticamente con confianza baja">
            <a:extLst>
              <a:ext uri="{FF2B5EF4-FFF2-40B4-BE49-F238E27FC236}">
                <a16:creationId xmlns:a16="http://schemas.microsoft.com/office/drawing/2014/main" id="{1E10472C-9803-6A7B-0AD6-ABDCE20B5276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6114" y="1460684"/>
            <a:ext cx="1170804" cy="1170804"/>
          </a:xfrm>
          <a:prstGeom prst="rect">
            <a:avLst/>
          </a:prstGeom>
        </p:spPr>
      </p:pic>
      <p:pic>
        <p:nvPicPr>
          <p:cNvPr id="62" name="Imagen 61" descr="Imagen que contiene interior, foto, diferente, juguete&#10;&#10;Descripción generada automáticamente">
            <a:extLst>
              <a:ext uri="{FF2B5EF4-FFF2-40B4-BE49-F238E27FC236}">
                <a16:creationId xmlns:a16="http://schemas.microsoft.com/office/drawing/2014/main" id="{18065711-06C0-B454-C4B8-A45725C1DB0E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27152" b="47596" l="32525" r="53010">
                        <a14:foregroundMark x1="36162" y1="47596" x2="36162" y2="47596"/>
                        <a14:foregroundMark x1="38141" y1="47354" x2="38141" y2="47354"/>
                        <a14:foregroundMark x1="40848" y1="45535" x2="40848" y2="45535"/>
                        <a14:foregroundMark x1="40808" y1="46343" x2="40808" y2="46343"/>
                        <a14:foregroundMark x1="40646" y1="47556" x2="40646" y2="47556"/>
                        <a14:foregroundMark x1="41980" y1="47475" x2="41980" y2="47475"/>
                        <a14:foregroundMark x1="40606" y1="47152" x2="40606" y2="47152"/>
                        <a14:foregroundMark x1="40566" y1="46586" x2="40566" y2="46586"/>
                        <a14:backgroundMark x1="36727" y1="36525" x2="36727" y2="36525"/>
                        <a14:backgroundMark x1="36283" y1="38424" x2="36283" y2="38424"/>
                        <a14:backgroundMark x1="36687" y1="36364" x2="36687" y2="36364"/>
                        <a14:backgroundMark x1="41212" y1="43192" x2="41212" y2="43192"/>
                        <a14:backgroundMark x1="41455" y1="37455" x2="41455" y2="37455"/>
                        <a14:backgroundMark x1="41535" y1="37576" x2="41535" y2="37576"/>
                        <a14:backgroundMark x1="41374" y1="39030" x2="41374" y2="39030"/>
                        <a14:backgroundMark x1="41253" y1="39030" x2="41253" y2="39030"/>
                        <a14:backgroundMark x1="39030" y1="36242" x2="39030" y2="36242"/>
                        <a14:backgroundMark x1="36040" y1="40364" x2="36040" y2="40364"/>
                        <a14:backgroundMark x1="36000" y1="39798" x2="36000" y2="39798"/>
                        <a14:backgroundMark x1="36242" y1="38626" x2="36242" y2="38626"/>
                        <a14:backgroundMark x1="36202" y1="38747" x2="36202" y2="38747"/>
                        <a14:backgroundMark x1="37212" y1="42909" x2="37212" y2="42909"/>
                        <a14:backgroundMark x1="37293" y1="42626" x2="37293" y2="42626"/>
                        <a14:backgroundMark x1="37333" y1="42465" x2="37333" y2="42465"/>
                        <a14:backgroundMark x1="37333" y1="42263" x2="37333" y2="42263"/>
                        <a14:backgroundMark x1="37374" y1="42141" x2="37374" y2="42141"/>
                        <a14:backgroundMark x1="40121" y1="40606" x2="40121" y2="406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974" t="24650" r="44402" b="50000"/>
          <a:stretch/>
        </p:blipFill>
        <p:spPr>
          <a:xfrm>
            <a:off x="7981066" y="-84977"/>
            <a:ext cx="2949275" cy="2917597"/>
          </a:xfrm>
          <a:prstGeom prst="rect">
            <a:avLst/>
          </a:prstGeom>
        </p:spPr>
      </p:pic>
      <p:pic>
        <p:nvPicPr>
          <p:cNvPr id="63" name="Imagen 62" descr="Diagrama&#10;&#10;Descripción generada automáticamente">
            <a:extLst>
              <a:ext uri="{FF2B5EF4-FFF2-40B4-BE49-F238E27FC236}">
                <a16:creationId xmlns:a16="http://schemas.microsoft.com/office/drawing/2014/main" id="{4C16CA40-A84B-19DF-9EDF-074057E9BB9E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hq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38250" b="69900" l="12750" r="86300">
                        <a14:foregroundMark x1="43900" y1="61300" x2="43900" y2="61300"/>
                        <a14:foregroundMark x1="42850" y1="58400" x2="42850" y2="58400"/>
                        <a14:foregroundMark x1="37700" y1="58150" x2="37700" y2="58150"/>
                        <a14:foregroundMark x1="22900" y1="67100" x2="22900" y2="67100"/>
                        <a14:foregroundMark x1="13100" y1="59450" x2="13100" y2="59450"/>
                        <a14:foregroundMark x1="46400" y1="67450" x2="46400" y2="67450"/>
                        <a14:foregroundMark x1="49100" y1="64950" x2="49100" y2="64950"/>
                        <a14:foregroundMark x1="15850" y1="61100" x2="35900" y2="63150"/>
                        <a14:foregroundMark x1="35900" y1="63150" x2="78600" y2="60150"/>
                        <a14:foregroundMark x1="78700" y1="60600" x2="74850" y2="67600"/>
                        <a14:foregroundMark x1="74850" y1="67600" x2="64000" y2="67300"/>
                        <a14:foregroundMark x1="78850" y1="59800" x2="86300" y2="65850"/>
                        <a14:foregroundMark x1="86300" y1="65850" x2="86100" y2="66950"/>
                        <a14:foregroundMark x1="61300" y1="66950" x2="61300" y2="66950"/>
                        <a14:foregroundMark x1="60750" y1="67100" x2="60350" y2="67100"/>
                        <a14:foregroundMark x1="59650" y1="67100" x2="13700" y2="66600"/>
                        <a14:foregroundMark x1="13350" y1="62400" x2="13350" y2="62400"/>
                        <a14:foregroundMark x1="12750" y1="62050" x2="12750" y2="6205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976" t="54953" r="7584" b="29385"/>
          <a:stretch/>
        </p:blipFill>
        <p:spPr>
          <a:xfrm>
            <a:off x="41715" y="5778276"/>
            <a:ext cx="2718347" cy="833296"/>
          </a:xfrm>
          <a:prstGeom prst="rect">
            <a:avLst/>
          </a:prstGeom>
        </p:spPr>
      </p:pic>
      <p:pic>
        <p:nvPicPr>
          <p:cNvPr id="64" name="Imagen 63" descr="Diagrama&#10;&#10;Descripción generada automáticamente">
            <a:extLst>
              <a:ext uri="{FF2B5EF4-FFF2-40B4-BE49-F238E27FC236}">
                <a16:creationId xmlns:a16="http://schemas.microsoft.com/office/drawing/2014/main" id="{AE8445A1-AEDF-6879-1D84-E0FA4A977912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34950" b="51350" l="14100" r="87500">
                        <a14:foregroundMark x1="42250" y1="39950" x2="42250" y2="39950"/>
                        <a14:foregroundMark x1="14450" y1="40000" x2="14450" y2="40000"/>
                        <a14:foregroundMark x1="84800" y1="40100" x2="84800" y2="40100"/>
                        <a14:foregroundMark x1="87500" y1="44950" x2="87500" y2="44950"/>
                        <a14:foregroundMark x1="80000" y1="45900" x2="80000" y2="45900"/>
                        <a14:foregroundMark x1="75950" y1="45100" x2="75950" y2="45100"/>
                        <a14:foregroundMark x1="74150" y1="44950" x2="74150" y2="44950"/>
                        <a14:foregroundMark x1="65950" y1="44750" x2="65950" y2="44750"/>
                        <a14:foregroundMark x1="53250" y1="44750" x2="68600" y2="43950"/>
                        <a14:foregroundMark x1="68600" y1="43950" x2="73450" y2="45400"/>
                        <a14:foregroundMark x1="14100" y1="45750" x2="17750" y2="46200"/>
                        <a14:foregroundMark x1="17750" y1="46200" x2="21850" y2="45750"/>
                        <a14:foregroundMark x1="21850" y1="45750" x2="21950" y2="4575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731" t="32931" r="7899" b="46599"/>
          <a:stretch/>
        </p:blipFill>
        <p:spPr>
          <a:xfrm>
            <a:off x="6848463" y="2927748"/>
            <a:ext cx="3960028" cy="1363670"/>
          </a:xfrm>
          <a:prstGeom prst="rect">
            <a:avLst/>
          </a:prstGeom>
        </p:spPr>
      </p:pic>
      <p:pic>
        <p:nvPicPr>
          <p:cNvPr id="65" name="Imagen 64">
            <a:extLst>
              <a:ext uri="{FF2B5EF4-FFF2-40B4-BE49-F238E27FC236}">
                <a16:creationId xmlns:a16="http://schemas.microsoft.com/office/drawing/2014/main" id="{DAE97DB0-7537-E5F9-23A3-A3C996C515F2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40811" b="70946" l="7027" r="53514">
                        <a14:foregroundMark x1="15135" y1="61892" x2="15135" y2="61892"/>
                        <a14:foregroundMark x1="14189" y1="61081" x2="14189" y2="61081"/>
                        <a14:foregroundMark x1="14865" y1="59730" x2="14865" y2="59730"/>
                        <a14:foregroundMark x1="14324" y1="59865" x2="14324" y2="59865"/>
                        <a14:foregroundMark x1="13514" y1="60541" x2="13514" y2="60541"/>
                        <a14:foregroundMark x1="9324" y1="61486" x2="9324" y2="61486"/>
                        <a14:foregroundMark x1="8919" y1="60946" x2="14595" y2="59730"/>
                        <a14:foregroundMark x1="10000" y1="61757" x2="26892" y2="71081"/>
                        <a14:foregroundMark x1="44324" y1="61081" x2="47027" y2="60676"/>
                        <a14:foregroundMark x1="7027" y1="60676" x2="7027" y2="6067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822" t="37163" r="50724" b="26290"/>
          <a:stretch/>
        </p:blipFill>
        <p:spPr>
          <a:xfrm>
            <a:off x="4111718" y="1511573"/>
            <a:ext cx="1295790" cy="1089853"/>
          </a:xfrm>
          <a:prstGeom prst="rect">
            <a:avLst/>
          </a:prstGeom>
        </p:spPr>
      </p:pic>
      <p:pic>
        <p:nvPicPr>
          <p:cNvPr id="66" name="Imagen 65" descr="Imagen que contiene lego, juguete, tabla&#10;&#10;Descripción generada automáticamente">
            <a:extLst>
              <a:ext uri="{FF2B5EF4-FFF2-40B4-BE49-F238E27FC236}">
                <a16:creationId xmlns:a16="http://schemas.microsoft.com/office/drawing/2014/main" id="{F8967CA1-4437-ABFD-A21C-ED4A6CD26ECA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55946" b="75811" l="40946" r="62162">
                        <a14:foregroundMark x1="47568" y1="64459" x2="47568" y2="64459"/>
                        <a14:foregroundMark x1="49324" y1="65000" x2="49324" y2="65000"/>
                        <a14:foregroundMark x1="47973" y1="63919" x2="47973" y2="63919"/>
                        <a14:foregroundMark x1="46486" y1="63378" x2="46486" y2="63378"/>
                        <a14:foregroundMark x1="50405" y1="66486" x2="50405" y2="66486"/>
                        <a14:foregroundMark x1="51892" y1="70946" x2="51892" y2="70946"/>
                        <a14:foregroundMark x1="51622" y1="71351" x2="51622" y2="71351"/>
                        <a14:foregroundMark x1="50541" y1="75676" x2="50541" y2="75676"/>
                        <a14:foregroundMark x1="61892" y1="67568" x2="61892" y2="67568"/>
                        <a14:foregroundMark x1="61216" y1="62973" x2="61216" y2="62973"/>
                        <a14:foregroundMark x1="60541" y1="59865" x2="60541" y2="59865"/>
                        <a14:foregroundMark x1="58649" y1="58243" x2="58649" y2="58243"/>
                        <a14:foregroundMark x1="57838" y1="57973" x2="57838" y2="57973"/>
                        <a14:foregroundMark x1="57838" y1="57973" x2="57838" y2="57973"/>
                        <a14:foregroundMark x1="57568" y1="57568" x2="57568" y2="57568"/>
                        <a14:foregroundMark x1="55946" y1="57703" x2="59459" y2="57838"/>
                        <a14:foregroundMark x1="59459" y1="57838" x2="62432" y2="65811"/>
                        <a14:foregroundMark x1="62432" y1="65811" x2="62297" y2="68108"/>
                        <a14:foregroundMark x1="62297" y1="68108" x2="60811" y2="69459"/>
                        <a14:foregroundMark x1="60811" y1="69459" x2="60676" y2="69459"/>
                        <a14:foregroundMark x1="62027" y1="61351" x2="60405" y2="58919"/>
                        <a14:foregroundMark x1="60405" y1="58919" x2="57297" y2="57432"/>
                        <a14:foregroundMark x1="57297" y1="57432" x2="56622" y2="57297"/>
                        <a14:foregroundMark x1="56351" y1="57162" x2="58243" y2="57297"/>
                        <a14:foregroundMark x1="57568" y1="63378" x2="55270" y2="63919"/>
                        <a14:foregroundMark x1="55270" y1="63919" x2="55135" y2="64054"/>
                        <a14:foregroundMark x1="56081" y1="57297" x2="57703" y2="56622"/>
                        <a14:backgroundMark x1="43514" y1="72973" x2="44865" y2="75405"/>
                        <a14:backgroundMark x1="42838" y1="73108" x2="42838" y2="73108"/>
                        <a14:backgroundMark x1="42973" y1="72703" x2="42838" y2="73784"/>
                        <a14:backgroundMark x1="45405" y1="74865" x2="47432" y2="76486"/>
                        <a14:backgroundMark x1="43108" y1="72568" x2="43514" y2="7324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3726" t="55900" r="35495" b="23343"/>
          <a:stretch/>
        </p:blipFill>
        <p:spPr>
          <a:xfrm>
            <a:off x="105542" y="2863285"/>
            <a:ext cx="1132603" cy="1131430"/>
          </a:xfrm>
          <a:prstGeom prst="rect">
            <a:avLst/>
          </a:prstGeom>
        </p:spPr>
      </p:pic>
      <p:pic>
        <p:nvPicPr>
          <p:cNvPr id="67" name="Imagen 66" descr="Interfaz de usuario gráfica&#10;&#10;Descripción generada automáticamente">
            <a:extLst>
              <a:ext uri="{FF2B5EF4-FFF2-40B4-BE49-F238E27FC236}">
                <a16:creationId xmlns:a16="http://schemas.microsoft.com/office/drawing/2014/main" id="{270BADCD-7D53-0357-4DD2-6B52DEB91BA6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414" b="1078"/>
          <a:stretch/>
        </p:blipFill>
        <p:spPr>
          <a:xfrm>
            <a:off x="2709751" y="136899"/>
            <a:ext cx="1333930" cy="1118505"/>
          </a:xfrm>
          <a:prstGeom prst="rect">
            <a:avLst/>
          </a:prstGeom>
        </p:spPr>
      </p:pic>
      <p:pic>
        <p:nvPicPr>
          <p:cNvPr id="68" name="Imagen 67" descr="Imagen que contiene interior, foto, diferente, juguete&#10;&#10;Descripción generada automáticamente">
            <a:extLst>
              <a:ext uri="{FF2B5EF4-FFF2-40B4-BE49-F238E27FC236}">
                <a16:creationId xmlns:a16="http://schemas.microsoft.com/office/drawing/2014/main" id="{88DA3892-D322-EB81-DB31-34567BB9429B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79" t="48228" r="4544" b="27838"/>
          <a:stretch/>
        </p:blipFill>
        <p:spPr>
          <a:xfrm>
            <a:off x="-1" y="4358847"/>
            <a:ext cx="1339876" cy="889075"/>
          </a:xfrm>
          <a:prstGeom prst="rect">
            <a:avLst/>
          </a:prstGeom>
        </p:spPr>
      </p:pic>
      <p:pic>
        <p:nvPicPr>
          <p:cNvPr id="69" name="Imagen 68" descr="Imagen que contiene interior, foto, diferente, juguete&#10;&#10;Descripción generada automáticamente">
            <a:extLst>
              <a:ext uri="{FF2B5EF4-FFF2-40B4-BE49-F238E27FC236}">
                <a16:creationId xmlns:a16="http://schemas.microsoft.com/office/drawing/2014/main" id="{31AC3D59-AE05-6EA1-67FE-4357037A3CA1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051" t="48718" r="41398" b="25090"/>
          <a:stretch/>
        </p:blipFill>
        <p:spPr>
          <a:xfrm>
            <a:off x="6787500" y="1497853"/>
            <a:ext cx="1294376" cy="1147288"/>
          </a:xfrm>
          <a:prstGeom prst="rect">
            <a:avLst/>
          </a:prstGeom>
        </p:spPr>
      </p:pic>
      <p:pic>
        <p:nvPicPr>
          <p:cNvPr id="71" name="Imagen 70" descr="Imagen que contiene interior, foto, diferente, juguete&#10;&#10;Descripción generada automáticamente">
            <a:extLst>
              <a:ext uri="{FF2B5EF4-FFF2-40B4-BE49-F238E27FC236}">
                <a16:creationId xmlns:a16="http://schemas.microsoft.com/office/drawing/2014/main" id="{899AE34C-126F-D117-4BBB-C5DFF13B1918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8" t="69742" r="68670" b="2161"/>
          <a:stretch/>
        </p:blipFill>
        <p:spPr>
          <a:xfrm>
            <a:off x="10854043" y="2741064"/>
            <a:ext cx="1314423" cy="1355769"/>
          </a:xfrm>
          <a:prstGeom prst="rect">
            <a:avLst/>
          </a:prstGeom>
        </p:spPr>
      </p:pic>
      <p:pic>
        <p:nvPicPr>
          <p:cNvPr id="1030" name="Picture 6" descr="Logo de metro png imágenes | PNGWing">
            <a:extLst>
              <a:ext uri="{FF2B5EF4-FFF2-40B4-BE49-F238E27FC236}">
                <a16:creationId xmlns:a16="http://schemas.microsoft.com/office/drawing/2014/main" id="{2778F1C1-42C4-6FDE-CF22-60F93ECAC3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ackgroundRemoval t="9778" b="89778" l="2667" r="97333">
                        <a14:foregroundMark x1="17333" y1="21333" x2="17333" y2="21333"/>
                        <a14:foregroundMark x1="6667" y1="32000" x2="6667" y2="32000"/>
                        <a14:foregroundMark x1="4444" y1="39556" x2="4444" y2="39556"/>
                        <a14:foregroundMark x1="2667" y1="47556" x2="2667" y2="47556"/>
                        <a14:foregroundMark x1="92000" y1="32000" x2="92444" y2="32000"/>
                        <a14:foregroundMark x1="97333" y1="45333" x2="97333" y2="45333"/>
                      </a14:backgroundRemoval>
                    </a14:imgEffect>
                    <a14:imgEffect>
                      <a14:sharpenSoften amount="51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913" y="2958677"/>
            <a:ext cx="993091" cy="993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Gráfico 72" descr="Tren con relleno sólido">
            <a:extLst>
              <a:ext uri="{FF2B5EF4-FFF2-40B4-BE49-F238E27FC236}">
                <a16:creationId xmlns:a16="http://schemas.microsoft.com/office/drawing/2014/main" id="{1CA33D9E-2D3B-406D-DB34-214AB2A6BAD4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7"/>
              </a:ext>
            </a:extLst>
          </a:blip>
          <a:stretch>
            <a:fillRect/>
          </a:stretch>
        </p:blipFill>
        <p:spPr>
          <a:xfrm>
            <a:off x="6830658" y="110879"/>
            <a:ext cx="1144468" cy="1144468"/>
          </a:xfrm>
          <a:prstGeom prst="rect">
            <a:avLst/>
          </a:prstGeom>
        </p:spPr>
      </p:pic>
      <p:pic>
        <p:nvPicPr>
          <p:cNvPr id="75" name="Gráfico 74" descr="Tranvía con relleno sólido">
            <a:extLst>
              <a:ext uri="{FF2B5EF4-FFF2-40B4-BE49-F238E27FC236}">
                <a16:creationId xmlns:a16="http://schemas.microsoft.com/office/drawing/2014/main" id="{08228851-AC60-64D6-2DBB-75B0D3730C9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9"/>
              </a:ext>
            </a:extLst>
          </a:blip>
          <a:stretch>
            <a:fillRect/>
          </a:stretch>
        </p:blipFill>
        <p:spPr>
          <a:xfrm>
            <a:off x="1383608" y="4156951"/>
            <a:ext cx="1289098" cy="1289098"/>
          </a:xfrm>
          <a:prstGeom prst="rect">
            <a:avLst/>
          </a:prstGeom>
        </p:spPr>
      </p:pic>
      <p:pic>
        <p:nvPicPr>
          <p:cNvPr id="76" name="Imagen 75" descr="Imagen que contiene cuarto, diferente, diversos, montón&#10;&#10;Descripción generada automáticamente">
            <a:extLst>
              <a:ext uri="{FF2B5EF4-FFF2-40B4-BE49-F238E27FC236}">
                <a16:creationId xmlns:a16="http://schemas.microsoft.com/office/drawing/2014/main" id="{1325FCC3-E642-B1D3-13FA-323C30B86F91}"/>
              </a:ext>
            </a:extLst>
          </p:cNvPr>
          <p:cNvPicPr>
            <a:picLocks noChangeAspect="1"/>
          </p:cNvPicPr>
          <p:nvPr/>
        </p:nvPicPr>
        <p:blipFill rotWithShape="1">
          <a:blip r:embed="rId30" cstate="hqprint"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backgroundRemoval t="2538" b="22843" l="78623" r="97625">
                        <a14:foregroundMark x1="83394" y1="6263" x2="83596" y2="12121"/>
                        <a14:foregroundMark x1="87596" y1="7758" x2="87596" y2="10869"/>
                        <a14:foregroundMark x1="81818" y1="6586" x2="82101" y2="6990"/>
                        <a14:foregroundMark x1="86909" y1="7596" x2="91313" y2="11394"/>
                        <a14:foregroundMark x1="90303" y1="11354" x2="90303" y2="11354"/>
                        <a14:foregroundMark x1="90586" y1="11717" x2="90343" y2="6586"/>
                        <a14:foregroundMark x1="86545" y1="7879" x2="86545" y2="7879"/>
                        <a14:foregroundMark x1="86384" y1="10141" x2="86384" y2="10141"/>
                        <a14:foregroundMark x1="88283" y1="10869" x2="88283" y2="10869"/>
                        <a14:foregroundMark x1="90182" y1="9131" x2="90182" y2="9131"/>
                        <a14:foregroundMark x1="91919" y1="9131" x2="91919" y2="9131"/>
                        <a14:foregroundMark x1="91030" y1="6465" x2="91030" y2="6465"/>
                        <a14:foregroundMark x1="92808" y1="6586" x2="92808" y2="6586"/>
                        <a14:foregroundMark x1="93253" y1="6586" x2="92202" y2="6424"/>
                        <a14:foregroundMark x1="91717" y1="9333" x2="91717" y2="9333"/>
                        <a14:foregroundMark x1="91556" y1="9212" x2="92081" y2="9131"/>
                        <a14:foregroundMark x1="91556" y1="11717" x2="93091" y2="11677"/>
                        <a14:foregroundMark x1="93414" y1="9333" x2="93414" y2="11232"/>
                        <a14:foregroundMark x1="91313" y1="8404" x2="92202" y2="8404"/>
                        <a14:foregroundMark x1="91798" y1="11232" x2="91798" y2="11232"/>
                        <a14:foregroundMark x1="84162" y1="6545" x2="84162" y2="6545"/>
                        <a14:foregroundMark x1="84848" y1="8121" x2="84848" y2="8121"/>
                        <a14:foregroundMark x1="83232" y1="11677" x2="83232" y2="11677"/>
                        <a14:foregroundMark x1="84323" y1="11758" x2="84323" y2="11758"/>
                        <a14:foregroundMark x1="81576" y1="9051" x2="81576" y2="9051"/>
                        <a14:foregroundMark x1="81818" y1="11475" x2="81818" y2="114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9485" t="2409" r="4387" b="77998"/>
          <a:stretch/>
        </p:blipFill>
        <p:spPr>
          <a:xfrm>
            <a:off x="4258351" y="136899"/>
            <a:ext cx="946692" cy="1150032"/>
          </a:xfrm>
          <a:prstGeom prst="rect">
            <a:avLst/>
          </a:prstGeom>
        </p:spPr>
      </p:pic>
      <p:pic>
        <p:nvPicPr>
          <p:cNvPr id="77" name="Imagen 76" descr="Imagen que contiene cuarto, diferente, diversos, montón&#10;&#10;Descripción generada automáticamente">
            <a:extLst>
              <a:ext uri="{FF2B5EF4-FFF2-40B4-BE49-F238E27FC236}">
                <a16:creationId xmlns:a16="http://schemas.microsoft.com/office/drawing/2014/main" id="{027E994D-EDDC-6F57-5778-4E443A55FE1D}"/>
              </a:ext>
            </a:extLst>
          </p:cNvPr>
          <p:cNvPicPr>
            <a:picLocks noChangeAspect="1"/>
          </p:cNvPicPr>
          <p:nvPr/>
        </p:nvPicPr>
        <p:blipFill rotWithShape="1">
          <a:blip r:embed="rId32"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backgroundRemoval t="3155" b="23460" l="53074" r="72076">
                        <a14:foregroundMark x1="61616" y1="10343" x2="63313" y2="10384"/>
                        <a14:foregroundMark x1="62182" y1="11192" x2="63475" y2="1115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5833" t="4114" r="30129" b="75844"/>
          <a:stretch/>
        </p:blipFill>
        <p:spPr>
          <a:xfrm>
            <a:off x="5539833" y="568712"/>
            <a:ext cx="1110962" cy="1586261"/>
          </a:xfrm>
          <a:prstGeom prst="rect">
            <a:avLst/>
          </a:prstGeom>
        </p:spPr>
      </p:pic>
      <p:pic>
        <p:nvPicPr>
          <p:cNvPr id="79" name="Imagen 78" descr="Imagen que contiene cuarto, diferente, diversos, montón&#10;&#10;Descripción generada automáticamente">
            <a:extLst>
              <a:ext uri="{FF2B5EF4-FFF2-40B4-BE49-F238E27FC236}">
                <a16:creationId xmlns:a16="http://schemas.microsoft.com/office/drawing/2014/main" id="{0FACABB7-FF6B-BF4B-D0CC-005FC44CF8BE}"/>
              </a:ext>
            </a:extLst>
          </p:cNvPr>
          <p:cNvPicPr>
            <a:picLocks noChangeAspect="1"/>
          </p:cNvPicPr>
          <p:nvPr/>
        </p:nvPicPr>
        <p:blipFill rotWithShape="1">
          <a:blip r:embed="rId33" cstate="hqprint"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backgroundRemoval t="25663" b="45968" l="4862" r="23864">
                        <a14:foregroundMark x1="10747" y1="27232" x2="7798" y2="27232"/>
                        <a14:backgroundMark x1="13455" y1="36242" x2="13455" y2="36242"/>
                        <a14:backgroundMark x1="16444" y1="36081" x2="16444" y2="36081"/>
                        <a14:backgroundMark x1="15354" y1="33455" x2="15354" y2="33455"/>
                        <a14:backgroundMark x1="16444" y1="33697" x2="16444" y2="33697"/>
                        <a14:backgroundMark x1="16364" y1="37374" x2="16364" y2="37374"/>
                        <a14:backgroundMark x1="16566" y1="33657" x2="16566" y2="3365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234" t="25364" r="78226" b="54999"/>
          <a:stretch/>
        </p:blipFill>
        <p:spPr>
          <a:xfrm>
            <a:off x="1488299" y="2782732"/>
            <a:ext cx="1120423" cy="1330268"/>
          </a:xfrm>
          <a:prstGeom prst="rect">
            <a:avLst/>
          </a:prstGeom>
        </p:spPr>
      </p:pic>
      <p:pic>
        <p:nvPicPr>
          <p:cNvPr id="80" name="Imagen 79" descr="Imagen que contiene cuarto, diferente, diversos, montón&#10;&#10;Descripción generada automáticamente">
            <a:extLst>
              <a:ext uri="{FF2B5EF4-FFF2-40B4-BE49-F238E27FC236}">
                <a16:creationId xmlns:a16="http://schemas.microsoft.com/office/drawing/2014/main" id="{FE42541F-B868-ABC0-3942-4CA03950A85E}"/>
              </a:ext>
            </a:extLst>
          </p:cNvPr>
          <p:cNvPicPr>
            <a:picLocks noChangeAspect="1"/>
          </p:cNvPicPr>
          <p:nvPr/>
        </p:nvPicPr>
        <p:blipFill rotWithShape="1">
          <a:blip r:embed="rId34" cstate="hqprint">
            <a:extLst>
              <a:ext uri="{BEBA8EAE-BF5A-486C-A8C5-ECC9F3942E4B}">
                <a14:imgProps xmlns:a14="http://schemas.microsoft.com/office/drawing/2010/main">
                  <a14:imgLayer r:embed="rId31">
                    <a14:imgEffect>
                      <a14:backgroundRemoval t="75882" b="96187" l="53397" r="72399">
                        <a14:foregroundMark x1="61859" y1="85051" x2="61859" y2="85051"/>
                        <a14:foregroundMark x1="68323" y1="82667" x2="68323" y2="82667"/>
                        <a14:foregroundMark x1="58101" y1="84727" x2="58101" y2="84727"/>
                        <a14:foregroundMark x1="56889" y1="84848" x2="56889" y2="84848"/>
                        <a14:foregroundMark x1="57495" y1="83475" x2="57495" y2="83475"/>
                        <a14:foregroundMark x1="68848" y1="83838" x2="68848" y2="83838"/>
                        <a14:foregroundMark x1="67273" y1="84000" x2="67273" y2="84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1022" t="73344" r="25226" b="1275"/>
          <a:stretch/>
        </p:blipFill>
        <p:spPr>
          <a:xfrm>
            <a:off x="10778732" y="-180105"/>
            <a:ext cx="1551849" cy="1658284"/>
          </a:xfrm>
          <a:prstGeom prst="rect">
            <a:avLst/>
          </a:prstGeom>
        </p:spPr>
      </p:pic>
      <p:pic>
        <p:nvPicPr>
          <p:cNvPr id="82" name="Gráfico 81" descr="Tranvía con relleno sólido">
            <a:extLst>
              <a:ext uri="{FF2B5EF4-FFF2-40B4-BE49-F238E27FC236}">
                <a16:creationId xmlns:a16="http://schemas.microsoft.com/office/drawing/2014/main" id="{C342738D-437C-4F36-8431-9E6F8CF3F68D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9"/>
              </a:ext>
            </a:extLst>
          </a:blip>
          <a:stretch>
            <a:fillRect/>
          </a:stretch>
        </p:blipFill>
        <p:spPr>
          <a:xfrm>
            <a:off x="10959161" y="1472725"/>
            <a:ext cx="1127678" cy="1127678"/>
          </a:xfrm>
          <a:prstGeom prst="rect">
            <a:avLst/>
          </a:prstGeom>
        </p:spPr>
      </p:pic>
      <p:pic>
        <p:nvPicPr>
          <p:cNvPr id="2" name="Imagen 1" descr="Imagen que contiene interior, lego, juguete, tabla&#10;&#10;Descripción generada automáticamente">
            <a:extLst>
              <a:ext uri="{FF2B5EF4-FFF2-40B4-BE49-F238E27FC236}">
                <a16:creationId xmlns:a16="http://schemas.microsoft.com/office/drawing/2014/main" id="{916E45F0-BD49-D836-24C7-CAD118AC25C8}"/>
              </a:ext>
            </a:extLst>
          </p:cNvPr>
          <p:cNvPicPr>
            <a:picLocks noChangeAspect="1"/>
          </p:cNvPicPr>
          <p:nvPr/>
        </p:nvPicPr>
        <p:blipFill rotWithShape="1">
          <a:blip r:embed="rId3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58" t="50202" r="45399" b="30130"/>
          <a:stretch/>
        </p:blipFill>
        <p:spPr>
          <a:xfrm>
            <a:off x="4178778" y="2889288"/>
            <a:ext cx="1141321" cy="1079423"/>
          </a:xfrm>
          <a:prstGeom prst="rect">
            <a:avLst/>
          </a:prstGeom>
        </p:spPr>
      </p:pic>
      <p:grpSp>
        <p:nvGrpSpPr>
          <p:cNvPr id="3" name="Grupo 2">
            <a:extLst>
              <a:ext uri="{FF2B5EF4-FFF2-40B4-BE49-F238E27FC236}">
                <a16:creationId xmlns:a16="http://schemas.microsoft.com/office/drawing/2014/main" id="{B26D065A-8E2E-6B7E-05F5-06487FEC5EB6}"/>
              </a:ext>
            </a:extLst>
          </p:cNvPr>
          <p:cNvGrpSpPr/>
          <p:nvPr/>
        </p:nvGrpSpPr>
        <p:grpSpPr>
          <a:xfrm>
            <a:off x="2888033" y="2725825"/>
            <a:ext cx="1013308" cy="1386246"/>
            <a:chOff x="6291619" y="563408"/>
            <a:chExt cx="1013308" cy="1386246"/>
          </a:xfrm>
        </p:grpSpPr>
        <p:pic>
          <p:nvPicPr>
            <p:cNvPr id="4" name="Imagen 3" descr="Imagen que contiene lego, juguete, diferente, cuarto&#10;&#10;Descripción generada automáticamente">
              <a:extLst>
                <a:ext uri="{FF2B5EF4-FFF2-40B4-BE49-F238E27FC236}">
                  <a16:creationId xmlns:a16="http://schemas.microsoft.com/office/drawing/2014/main" id="{BC205780-6EF5-0318-A08B-577C7F3D0F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6" cstate="hqprint">
              <a:extLst>
                <a:ext uri="{BEBA8EAE-BF5A-486C-A8C5-ECC9F3942E4B}">
                  <a14:imgProps xmlns:a14="http://schemas.microsoft.com/office/drawing/2010/main">
                    <a14:imgLayer r:embed="rId37">
                      <a14:imgEffect>
                        <a14:backgroundRemoval t="2424" b="21818" l="55192" r="69495">
                          <a14:foregroundMark x1="63354" y1="16081" x2="63354" y2="16081"/>
                          <a14:foregroundMark x1="63596" y1="15879" x2="63596" y2="15879"/>
                          <a14:foregroundMark x1="61980" y1="15596" x2="61980" y2="15596"/>
                          <a14:foregroundMark x1="61657" y1="16485" x2="61657" y2="16485"/>
                          <a14:foregroundMark x1="69495" y1="17859" x2="69495" y2="17859"/>
                          <a14:foregroundMark x1="62545" y1="7717" x2="62545" y2="7717"/>
                          <a14:foregroundMark x1="62545" y1="7717" x2="62545" y2="7717"/>
                          <a14:foregroundMark x1="62545" y1="7717" x2="62465" y2="7354"/>
                          <a14:foregroundMark x1="62869" y1="6505" x2="62384" y2="8202"/>
                          <a14:foregroundMark x1="63354" y1="6141" x2="63354" y2="8162"/>
                          <a14:foregroundMark x1="62263" y1="6990" x2="61374" y2="787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423" r="28846" b="75744"/>
            <a:stretch/>
          </p:blipFill>
          <p:spPr>
            <a:xfrm>
              <a:off x="6291619" y="563408"/>
              <a:ext cx="1013308" cy="1386246"/>
            </a:xfrm>
            <a:prstGeom prst="rect">
              <a:avLst/>
            </a:prstGeom>
          </p:spPr>
        </p:pic>
        <p:sp>
          <p:nvSpPr>
            <p:cNvPr id="51" name="Rectángulo: esquinas redondeadas 50">
              <a:extLst>
                <a:ext uri="{FF2B5EF4-FFF2-40B4-BE49-F238E27FC236}">
                  <a16:creationId xmlns:a16="http://schemas.microsoft.com/office/drawing/2014/main" id="{D1181E51-BA1F-BB97-64DA-92F9668B5361}"/>
                </a:ext>
              </a:extLst>
            </p:cNvPr>
            <p:cNvSpPr/>
            <p:nvPr/>
          </p:nvSpPr>
          <p:spPr>
            <a:xfrm>
              <a:off x="6718851" y="880323"/>
              <a:ext cx="189317" cy="183637"/>
            </a:xfrm>
            <a:prstGeom prst="roundRect">
              <a:avLst>
                <a:gd name="adj" fmla="val 26977"/>
              </a:avLst>
            </a:prstGeom>
            <a:solidFill>
              <a:srgbClr val="217FB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52" name="Picture 6" descr="Logo de metro png imágenes | PNGWing">
              <a:extLst>
                <a:ext uri="{FF2B5EF4-FFF2-40B4-BE49-F238E27FC236}">
                  <a16:creationId xmlns:a16="http://schemas.microsoft.com/office/drawing/2014/main" id="{4E0B5A53-41CF-FAEB-C887-2ABE336C98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 cstate="hqprint">
              <a:extLst>
                <a:ext uri="{BEBA8EAE-BF5A-486C-A8C5-ECC9F3942E4B}">
                  <a14:imgProps xmlns:a14="http://schemas.microsoft.com/office/drawing/2010/main">
                    <a14:imgLayer r:embed="rId39">
                      <a14:imgEffect>
                        <a14:backgroundRemoval t="9778" b="89778" l="2667" r="97333">
                          <a14:foregroundMark x1="17333" y1="21333" x2="17333" y2="21333"/>
                          <a14:foregroundMark x1="6667" y1="32000" x2="6667" y2="32000"/>
                          <a14:foregroundMark x1="4444" y1="39556" x2="4444" y2="39556"/>
                          <a14:foregroundMark x1="2667" y1="47556" x2="2667" y2="47556"/>
                          <a14:foregroundMark x1="92000" y1="32000" x2="92444" y2="32000"/>
                          <a14:foregroundMark x1="97333" y1="45333" x2="97333" y2="45333"/>
                        </a14:backgroundRemoval>
                      </a14:imgEffect>
                      <a14:imgEffect>
                        <a14:sharpenSoften amount="51000"/>
                      </a14:imgEffect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4531" y="880323"/>
              <a:ext cx="183637" cy="1836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877861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6"/>
          <p:cNvSpPr txBox="1"/>
          <p:nvPr/>
        </p:nvSpPr>
        <p:spPr>
          <a:xfrm>
            <a:off x="0" y="6562162"/>
            <a:ext cx="52099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8" name="Google Shape;106;p3">
            <a:extLst>
              <a:ext uri="{FF2B5EF4-FFF2-40B4-BE49-F238E27FC236}">
                <a16:creationId xmlns:a16="http://schemas.microsoft.com/office/drawing/2014/main" id="{E0688F8F-1C67-2CE1-FD6A-858CB2A2BCAB}"/>
              </a:ext>
            </a:extLst>
          </p:cNvPr>
          <p:cNvSpPr txBox="1"/>
          <p:nvPr/>
        </p:nvSpPr>
        <p:spPr>
          <a:xfrm>
            <a:off x="251442" y="646550"/>
            <a:ext cx="8667900" cy="57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  <a:tabLst/>
              <a:defRPr/>
            </a:pPr>
            <a:r>
              <a:rPr kumimoji="0" lang="es-CL" sz="20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t>Imagen Objetivo – Vista 3D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Imagen 2" descr="Imagen que contiene interior, tabla, computadora, escritorio&#10;&#10;Descripción generada automáticamente">
            <a:extLst>
              <a:ext uri="{FF2B5EF4-FFF2-40B4-BE49-F238E27FC236}">
                <a16:creationId xmlns:a16="http://schemas.microsoft.com/office/drawing/2014/main" id="{C054EE00-E8F0-A04E-66B9-F99166B9EE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1539"/>
            <a:ext cx="12192000" cy="689659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C7753362-5883-2010-B28F-E50FA245AD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0250102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6D2DDD-EC3B-2E70-411D-7D5ABF1258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Marcador de contenido 2">
            <a:extLst>
              <a:ext uri="{FF2B5EF4-FFF2-40B4-BE49-F238E27FC236}">
                <a16:creationId xmlns:a16="http://schemas.microsoft.com/office/drawing/2014/main" id="{8E8C10B0-E0FF-182F-E8F5-02C3D52DF33A}"/>
              </a:ext>
            </a:extLst>
          </p:cNvPr>
          <p:cNvSpPr txBox="1">
            <a:spLocks/>
          </p:cNvSpPr>
          <p:nvPr/>
        </p:nvSpPr>
        <p:spPr>
          <a:xfrm>
            <a:off x="4837482" y="972510"/>
            <a:ext cx="6691106" cy="376738"/>
          </a:xfrm>
          <a:prstGeom prst="rect">
            <a:avLst/>
          </a:prstGeom>
        </p:spPr>
        <p:txBody>
          <a:bodyPr>
            <a:noAutofit/>
          </a:bodyPr>
          <a:lstStyle>
            <a:lvl1pPr marL="342919" indent="-342919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1pPr>
            <a:lvl2pPr marL="742989" indent="-285765" algn="l" defTabSz="457224" rtl="0" eaLnBrk="1" latinLnBrk="0" hangingPunct="1">
              <a:spcBef>
                <a:spcPct val="20000"/>
              </a:spcBef>
              <a:buFont typeface="Arial"/>
              <a:buChar char="–"/>
              <a:defRPr sz="1101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2pPr>
            <a:lvl3pPr marL="1143061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1051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3pPr>
            <a:lvl4pPr marL="1600284" indent="-228613" algn="l" defTabSz="457224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4pPr>
            <a:lvl5pPr marL="2057509" indent="-228613" algn="l" defTabSz="457224" rtl="0" eaLnBrk="1" latinLnBrk="0" hangingPunct="1">
              <a:spcBef>
                <a:spcPct val="20000"/>
              </a:spcBef>
              <a:buFont typeface="Arial"/>
              <a:buChar char="»"/>
              <a:defRPr sz="1000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5pPr>
            <a:lvl6pPr marL="2514733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58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82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406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24" lvl="1" indent="0">
              <a:buNone/>
            </a:pPr>
            <a:r>
              <a:rPr lang="es-MX" sz="1800" b="1">
                <a:latin typeface="Century Gothic" panose="020B0502020202020204" pitchFamily="34" charset="0"/>
              </a:rPr>
              <a:t>L2:	Departamental (1978)</a:t>
            </a:r>
            <a:r>
              <a:rPr lang="es-MX" sz="1400" b="1">
                <a:latin typeface="Century Gothic" panose="020B0502020202020204" pitchFamily="34" charset="0"/>
              </a:rPr>
              <a:t>	</a:t>
            </a:r>
          </a:p>
          <a:p>
            <a:pPr marL="457224" lvl="1" indent="0">
              <a:buNone/>
            </a:pPr>
            <a:endParaRPr lang="es-MX" sz="1400" b="1">
              <a:latin typeface="Century Gothic" panose="020B0502020202020204" pitchFamily="34" charset="0"/>
            </a:endParaRPr>
          </a:p>
        </p:txBody>
      </p:sp>
      <p:pic>
        <p:nvPicPr>
          <p:cNvPr id="22" name="Imagen 21" descr="Imagen que contiene interior, techo, edificio, tabla&#10;&#10;Descripción generada automáticamente">
            <a:extLst>
              <a:ext uri="{FF2B5EF4-FFF2-40B4-BE49-F238E27FC236}">
                <a16:creationId xmlns:a16="http://schemas.microsoft.com/office/drawing/2014/main" id="{CA38EC17-1D40-2B1F-CB4B-9DDCE4A64A4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91" t="27811" r="17617" b="7474"/>
          <a:stretch/>
        </p:blipFill>
        <p:spPr>
          <a:xfrm>
            <a:off x="5249838" y="2809505"/>
            <a:ext cx="2239393" cy="1839370"/>
          </a:xfrm>
          <a:prstGeom prst="rect">
            <a:avLst/>
          </a:prstGeom>
        </p:spPr>
      </p:pic>
      <p:pic>
        <p:nvPicPr>
          <p:cNvPr id="23" name="Imagen 22" descr="Imagen que contiene edificio, tabla&#10;&#10;Descripción generada automáticamente">
            <a:extLst>
              <a:ext uri="{FF2B5EF4-FFF2-40B4-BE49-F238E27FC236}">
                <a16:creationId xmlns:a16="http://schemas.microsoft.com/office/drawing/2014/main" id="{892BC6EC-EDEA-994B-0E84-32BE7B744AC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77" b="10918"/>
          <a:stretch/>
        </p:blipFill>
        <p:spPr>
          <a:xfrm>
            <a:off x="7543549" y="2809462"/>
            <a:ext cx="2677375" cy="1837988"/>
          </a:xfrm>
          <a:prstGeom prst="rect">
            <a:avLst/>
          </a:prstGeom>
        </p:spPr>
      </p:pic>
      <p:graphicFrame>
        <p:nvGraphicFramePr>
          <p:cNvPr id="51" name="Tabla 50">
            <a:extLst>
              <a:ext uri="{FF2B5EF4-FFF2-40B4-BE49-F238E27FC236}">
                <a16:creationId xmlns:a16="http://schemas.microsoft.com/office/drawing/2014/main" id="{9AE9485A-0DF9-30A3-AA01-4B9F2CDE86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0257798"/>
              </p:ext>
            </p:extLst>
          </p:nvPr>
        </p:nvGraphicFramePr>
        <p:xfrm>
          <a:off x="6187397" y="5353915"/>
          <a:ext cx="3807140" cy="531575"/>
        </p:xfrm>
        <a:graphic>
          <a:graphicData uri="http://schemas.openxmlformats.org/drawingml/2006/table">
            <a:tbl>
              <a:tblPr/>
              <a:tblGrid>
                <a:gridCol w="1477156">
                  <a:extLst>
                    <a:ext uri="{9D8B030D-6E8A-4147-A177-3AD203B41FA5}">
                      <a16:colId xmlns:a16="http://schemas.microsoft.com/office/drawing/2014/main" val="2377032666"/>
                    </a:ext>
                  </a:extLst>
                </a:gridCol>
                <a:gridCol w="882128">
                  <a:extLst>
                    <a:ext uri="{9D8B030D-6E8A-4147-A177-3AD203B41FA5}">
                      <a16:colId xmlns:a16="http://schemas.microsoft.com/office/drawing/2014/main" val="4153719350"/>
                    </a:ext>
                  </a:extLst>
                </a:gridCol>
                <a:gridCol w="1447856">
                  <a:extLst>
                    <a:ext uri="{9D8B030D-6E8A-4147-A177-3AD203B41FA5}">
                      <a16:colId xmlns:a16="http://schemas.microsoft.com/office/drawing/2014/main" val="1061046877"/>
                    </a:ext>
                  </a:extLst>
                </a:gridCol>
              </a:tblGrid>
              <a:tr h="306685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Estación  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Afluencia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Tipo de acceso 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410548"/>
                  </a:ext>
                </a:extLst>
              </a:tr>
              <a:tr h="224890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partamental</a:t>
                      </a:r>
                      <a:endParaRPr lang="es-CL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.4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scotilla (2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621536"/>
                  </a:ext>
                </a:extLst>
              </a:tr>
            </a:tbl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8D2E38A6-252D-D0BB-F916-7AA753E73EDB}"/>
              </a:ext>
            </a:extLst>
          </p:cNvPr>
          <p:cNvSpPr txBox="1"/>
          <p:nvPr/>
        </p:nvSpPr>
        <p:spPr>
          <a:xfrm>
            <a:off x="4822466" y="1424161"/>
            <a:ext cx="7003515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24" lvl="1" indent="0">
              <a:buNone/>
            </a:pPr>
            <a:endParaRPr lang="es-MX" sz="1400" i="1">
              <a:latin typeface="Century Gothic" panose="020B0502020202020204" pitchFamily="34" charset="0"/>
            </a:endParaRPr>
          </a:p>
          <a:p>
            <a:pPr marL="457200" lvl="1" indent="0">
              <a:buFont typeface="Arial"/>
              <a:buNone/>
            </a:pPr>
            <a:r>
              <a:rPr lang="es-MX" sz="1400" b="1">
                <a:solidFill>
                  <a:schemeClr val="accent2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</a:rPr>
              <a:t>Carácter de la renovación: </a:t>
            </a:r>
          </a:p>
          <a:p>
            <a:pPr marL="457200" lvl="1" indent="0">
              <a:buFont typeface="Arial"/>
              <a:buNone/>
            </a:pPr>
            <a:r>
              <a:rPr lang="es-MX" sz="1400">
                <a:solidFill>
                  <a:schemeClr val="accent2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</a:rPr>
              <a:t>Rescatar los revestimientos como elemento patrimonial de la ciudad, con una propuesta actualizada.</a:t>
            </a:r>
          </a:p>
          <a:p>
            <a:pPr marL="457200" lvl="1" indent="0">
              <a:buFont typeface="Arial"/>
              <a:buNone/>
            </a:pPr>
            <a:r>
              <a:rPr lang="es-MX" sz="1400">
                <a:latin typeface="Century Gothic" panose="020B0502020202020204" pitchFamily="34" charset="0"/>
              </a:rPr>
              <a:t> </a:t>
            </a:r>
          </a:p>
        </p:txBody>
      </p:sp>
      <p:pic>
        <p:nvPicPr>
          <p:cNvPr id="7" name="Imagen 6" descr="Imagen que contiene exterior, edificio, pequeño, tabla&#10;&#10;Descripción generada automáticamente">
            <a:extLst>
              <a:ext uri="{FF2B5EF4-FFF2-40B4-BE49-F238E27FC236}">
                <a16:creationId xmlns:a16="http://schemas.microsoft.com/office/drawing/2014/main" id="{B09D0B65-1729-327D-D45B-A9BF7BC6B8C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69" r="13836"/>
          <a:stretch/>
        </p:blipFill>
        <p:spPr>
          <a:xfrm>
            <a:off x="10300540" y="2810205"/>
            <a:ext cx="1386384" cy="1837245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191FD27C-1748-DAC5-6B9A-F60B83DE19A6}"/>
              </a:ext>
            </a:extLst>
          </p:cNvPr>
          <p:cNvSpPr txBox="1"/>
          <p:nvPr/>
        </p:nvSpPr>
        <p:spPr>
          <a:xfrm>
            <a:off x="719431" y="464872"/>
            <a:ext cx="68780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>
                <a:latin typeface="Century Gothic" panose="020B0502020202020204" pitchFamily="34" charset="0"/>
              </a:rPr>
              <a:t>Definición de estaciones</a:t>
            </a:r>
            <a:endParaRPr lang="es-CL" sz="1600" b="1">
              <a:latin typeface="Century Gothic" panose="020B050202020202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C97738B1-C640-B6F0-D928-CC514CEA3D6D}"/>
              </a:ext>
            </a:extLst>
          </p:cNvPr>
          <p:cNvSpPr txBox="1"/>
          <p:nvPr/>
        </p:nvSpPr>
        <p:spPr>
          <a:xfrm>
            <a:off x="731838" y="188764"/>
            <a:ext cx="1050414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9A348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valorización</a:t>
            </a:r>
            <a:r>
              <a:rPr lang="es-ES" sz="1600" u="none" strike="noStrike" baseline="0">
                <a:solidFill>
                  <a:srgbClr val="9A3488"/>
                </a:solidFill>
                <a:latin typeface="Century Gothic" panose="020B0502020202020204" pitchFamily="34" charset="0"/>
              </a:rPr>
              <a:t> del interior de estaciones en red convencional</a:t>
            </a:r>
          </a:p>
        </p:txBody>
      </p:sp>
      <p:pic>
        <p:nvPicPr>
          <p:cNvPr id="4" name="Gráfico 3" descr="Hogar con relleno sólido">
            <a:hlinkClick r:id="rId5" action="ppaction://hlinksldjump"/>
            <a:extLst>
              <a:ext uri="{FF2B5EF4-FFF2-40B4-BE49-F238E27FC236}">
                <a16:creationId xmlns:a16="http://schemas.microsoft.com/office/drawing/2014/main" id="{63D3E807-D6CF-7DA4-66F2-E6C095E63DAB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54063" y="6089019"/>
            <a:ext cx="433137" cy="433137"/>
          </a:xfrm>
          <a:prstGeom prst="rect">
            <a:avLst/>
          </a:prstGeom>
        </p:spPr>
      </p:pic>
      <p:grpSp>
        <p:nvGrpSpPr>
          <p:cNvPr id="2" name="Grupo 1">
            <a:extLst>
              <a:ext uri="{FF2B5EF4-FFF2-40B4-BE49-F238E27FC236}">
                <a16:creationId xmlns:a16="http://schemas.microsoft.com/office/drawing/2014/main" id="{7E406BEA-7D1B-B5EA-2A85-1CBE2A8D8BDC}"/>
              </a:ext>
            </a:extLst>
          </p:cNvPr>
          <p:cNvGrpSpPr/>
          <p:nvPr/>
        </p:nvGrpSpPr>
        <p:grpSpPr>
          <a:xfrm>
            <a:off x="133907" y="862057"/>
            <a:ext cx="4882105" cy="5886126"/>
            <a:chOff x="133907" y="862057"/>
            <a:chExt cx="4882105" cy="5886126"/>
          </a:xfrm>
        </p:grpSpPr>
        <p:grpSp>
          <p:nvGrpSpPr>
            <p:cNvPr id="3" name="Grupo 2">
              <a:extLst>
                <a:ext uri="{FF2B5EF4-FFF2-40B4-BE49-F238E27FC236}">
                  <a16:creationId xmlns:a16="http://schemas.microsoft.com/office/drawing/2014/main" id="{3A67D849-0C15-3C16-DD1A-B88BAE518C1A}"/>
                </a:ext>
              </a:extLst>
            </p:cNvPr>
            <p:cNvGrpSpPr/>
            <p:nvPr/>
          </p:nvGrpSpPr>
          <p:grpSpPr>
            <a:xfrm>
              <a:off x="133907" y="862057"/>
              <a:ext cx="4882105" cy="5886126"/>
              <a:chOff x="40806" y="137063"/>
              <a:chExt cx="5567083" cy="6711972"/>
            </a:xfrm>
          </p:grpSpPr>
          <p:grpSp>
            <p:nvGrpSpPr>
              <p:cNvPr id="11" name="Grupo 10">
                <a:extLst>
                  <a:ext uri="{FF2B5EF4-FFF2-40B4-BE49-F238E27FC236}">
                    <a16:creationId xmlns:a16="http://schemas.microsoft.com/office/drawing/2014/main" id="{4FB9BFBF-23B1-5C4B-A642-D7EBB7DE35FD}"/>
                  </a:ext>
                </a:extLst>
              </p:cNvPr>
              <p:cNvGrpSpPr/>
              <p:nvPr/>
            </p:nvGrpSpPr>
            <p:grpSpPr>
              <a:xfrm>
                <a:off x="40806" y="137063"/>
                <a:ext cx="5567083" cy="6711972"/>
                <a:chOff x="342313" y="169930"/>
                <a:chExt cx="5314416" cy="6407343"/>
              </a:xfrm>
            </p:grpSpPr>
            <p:pic>
              <p:nvPicPr>
                <p:cNvPr id="14" name="Imagen 13" descr="Gráfico, Mapa&#10;&#10;Descripción generada automáticamente">
                  <a:extLst>
                    <a:ext uri="{FF2B5EF4-FFF2-40B4-BE49-F238E27FC236}">
                      <a16:creationId xmlns:a16="http://schemas.microsoft.com/office/drawing/2014/main" id="{AADD24C0-8512-9A23-4859-1C739BAEE1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8813" t="16921" r="3141" b="7995"/>
                <a:stretch/>
              </p:blipFill>
              <p:spPr>
                <a:xfrm>
                  <a:off x="342313" y="169930"/>
                  <a:ext cx="5314416" cy="6407343"/>
                </a:xfrm>
                <a:prstGeom prst="rect">
                  <a:avLst/>
                </a:prstGeom>
              </p:spPr>
            </p:pic>
            <p:sp>
              <p:nvSpPr>
                <p:cNvPr id="15" name="CuadroTexto 14">
                  <a:extLst>
                    <a:ext uri="{FF2B5EF4-FFF2-40B4-BE49-F238E27FC236}">
                      <a16:creationId xmlns:a16="http://schemas.microsoft.com/office/drawing/2014/main" id="{3B594CA4-4D4D-10C4-F4E4-D6ADDE3EEA25}"/>
                    </a:ext>
                  </a:extLst>
                </p:cNvPr>
                <p:cNvSpPr txBox="1"/>
                <p:nvPr/>
              </p:nvSpPr>
              <p:spPr>
                <a:xfrm rot="2609628">
                  <a:off x="2279578" y="4331383"/>
                  <a:ext cx="999331" cy="1769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San Ramón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16" name="Elipse 15">
                  <a:extLst>
                    <a:ext uri="{FF2B5EF4-FFF2-40B4-BE49-F238E27FC236}">
                      <a16:creationId xmlns:a16="http://schemas.microsoft.com/office/drawing/2014/main" id="{BB42C85B-AAD6-63E7-C8E0-DCC6C61BDEFC}"/>
                    </a:ext>
                  </a:extLst>
                </p:cNvPr>
                <p:cNvSpPr/>
                <p:nvPr/>
              </p:nvSpPr>
              <p:spPr>
                <a:xfrm>
                  <a:off x="3058107" y="4748210"/>
                  <a:ext cx="85302" cy="82550"/>
                </a:xfrm>
                <a:prstGeom prst="ellipse">
                  <a:avLst/>
                </a:prstGeom>
                <a:solidFill>
                  <a:srgbClr val="64CBEF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17" name="Elipse 16">
                  <a:extLst>
                    <a:ext uri="{FF2B5EF4-FFF2-40B4-BE49-F238E27FC236}">
                      <a16:creationId xmlns:a16="http://schemas.microsoft.com/office/drawing/2014/main" id="{78604A56-6425-BDF7-236E-BE4C7FAAFBE6}"/>
                    </a:ext>
                  </a:extLst>
                </p:cNvPr>
                <p:cNvSpPr/>
                <p:nvPr/>
              </p:nvSpPr>
              <p:spPr>
                <a:xfrm>
                  <a:off x="3606793" y="4748210"/>
                  <a:ext cx="85302" cy="82550"/>
                </a:xfrm>
                <a:prstGeom prst="ellipse">
                  <a:avLst/>
                </a:prstGeom>
                <a:solidFill>
                  <a:srgbClr val="64CBEF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18" name="CuadroTexto 17">
                  <a:extLst>
                    <a:ext uri="{FF2B5EF4-FFF2-40B4-BE49-F238E27FC236}">
                      <a16:creationId xmlns:a16="http://schemas.microsoft.com/office/drawing/2014/main" id="{AF453D1B-61B6-2FB5-41A6-E81BA2208661}"/>
                    </a:ext>
                  </a:extLst>
                </p:cNvPr>
                <p:cNvSpPr txBox="1"/>
                <p:nvPr/>
              </p:nvSpPr>
              <p:spPr>
                <a:xfrm rot="2609628">
                  <a:off x="3166056" y="4470759"/>
                  <a:ext cx="594332" cy="1769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La Granja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19" name="Elipse 18">
                  <a:extLst>
                    <a:ext uri="{FF2B5EF4-FFF2-40B4-BE49-F238E27FC236}">
                      <a16:creationId xmlns:a16="http://schemas.microsoft.com/office/drawing/2014/main" id="{CB53DB6E-AB95-4242-6A66-081B6885685E}"/>
                    </a:ext>
                  </a:extLst>
                </p:cNvPr>
                <p:cNvSpPr/>
                <p:nvPr/>
              </p:nvSpPr>
              <p:spPr>
                <a:xfrm>
                  <a:off x="3809199" y="4493416"/>
                  <a:ext cx="85302" cy="82550"/>
                </a:xfrm>
                <a:prstGeom prst="ellipse">
                  <a:avLst/>
                </a:prstGeom>
                <a:solidFill>
                  <a:srgbClr val="64CBEF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20" name="CuadroTexto 19">
                  <a:extLst>
                    <a:ext uri="{FF2B5EF4-FFF2-40B4-BE49-F238E27FC236}">
                      <a16:creationId xmlns:a16="http://schemas.microsoft.com/office/drawing/2014/main" id="{681DBAB3-96DB-F3BF-774D-7C5A6C51EE01}"/>
                    </a:ext>
                  </a:extLst>
                </p:cNvPr>
                <p:cNvSpPr txBox="1"/>
                <p:nvPr/>
              </p:nvSpPr>
              <p:spPr>
                <a:xfrm rot="2609628">
                  <a:off x="3115065" y="4191120"/>
                  <a:ext cx="820805" cy="1926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Santa Julia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21" name="Elipse 20">
                  <a:extLst>
                    <a:ext uri="{FF2B5EF4-FFF2-40B4-BE49-F238E27FC236}">
                      <a16:creationId xmlns:a16="http://schemas.microsoft.com/office/drawing/2014/main" id="{94D5443D-F209-F961-7342-6E4B1828EB74}"/>
                    </a:ext>
                  </a:extLst>
                </p:cNvPr>
                <p:cNvSpPr/>
                <p:nvPr/>
              </p:nvSpPr>
              <p:spPr>
                <a:xfrm>
                  <a:off x="2871015" y="2420182"/>
                  <a:ext cx="85302" cy="8255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25" name="Elipse 24">
                  <a:extLst>
                    <a:ext uri="{FF2B5EF4-FFF2-40B4-BE49-F238E27FC236}">
                      <a16:creationId xmlns:a16="http://schemas.microsoft.com/office/drawing/2014/main" id="{620D0A87-7D7A-38C9-D103-C1F76250988D}"/>
                    </a:ext>
                  </a:extLst>
                </p:cNvPr>
                <p:cNvSpPr/>
                <p:nvPr/>
              </p:nvSpPr>
              <p:spPr>
                <a:xfrm>
                  <a:off x="4483470" y="2617786"/>
                  <a:ext cx="85302" cy="82550"/>
                </a:xfrm>
                <a:prstGeom prst="ellipse">
                  <a:avLst/>
                </a:prstGeom>
                <a:solidFill>
                  <a:schemeClr val="accent2">
                    <a:lumMod val="50000"/>
                    <a:lumOff val="50000"/>
                  </a:schemeClr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26" name="CuadroTexto 25">
                  <a:extLst>
                    <a:ext uri="{FF2B5EF4-FFF2-40B4-BE49-F238E27FC236}">
                      <a16:creationId xmlns:a16="http://schemas.microsoft.com/office/drawing/2014/main" id="{998FE76A-4007-24A7-959C-2008337BD846}"/>
                    </a:ext>
                  </a:extLst>
                </p:cNvPr>
                <p:cNvSpPr txBox="1"/>
                <p:nvPr/>
              </p:nvSpPr>
              <p:spPr>
                <a:xfrm rot="18641186">
                  <a:off x="4409196" y="2246249"/>
                  <a:ext cx="827712" cy="1926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ES" sz="550" b="1">
                      <a:latin typeface="Century Gothic" panose="020B0502020202020204" pitchFamily="34" charset="0"/>
                    </a:rPr>
                    <a:t>Plaza Egaña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29" name="Elipse 28">
                  <a:extLst>
                    <a:ext uri="{FF2B5EF4-FFF2-40B4-BE49-F238E27FC236}">
                      <a16:creationId xmlns:a16="http://schemas.microsoft.com/office/drawing/2014/main" id="{6C16C2A5-E716-66B7-5281-16505E42AD65}"/>
                    </a:ext>
                  </a:extLst>
                </p:cNvPr>
                <p:cNvSpPr/>
                <p:nvPr/>
              </p:nvSpPr>
              <p:spPr>
                <a:xfrm>
                  <a:off x="2828364" y="3823891"/>
                  <a:ext cx="85302" cy="82550"/>
                </a:xfrm>
                <a:prstGeom prst="ellipse">
                  <a:avLst/>
                </a:prstGeom>
                <a:solidFill>
                  <a:srgbClr val="FFFF00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47" name="CuadroTexto 46">
                  <a:extLst>
                    <a:ext uri="{FF2B5EF4-FFF2-40B4-BE49-F238E27FC236}">
                      <a16:creationId xmlns:a16="http://schemas.microsoft.com/office/drawing/2014/main" id="{6259360E-751C-7499-1298-4E97AC74CBA8}"/>
                    </a:ext>
                  </a:extLst>
                </p:cNvPr>
                <p:cNvSpPr txBox="1"/>
                <p:nvPr/>
              </p:nvSpPr>
              <p:spPr>
                <a:xfrm>
                  <a:off x="1856192" y="3776680"/>
                  <a:ext cx="999331" cy="1769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Departamental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48" name="CuadroTexto 47">
                  <a:extLst>
                    <a:ext uri="{FF2B5EF4-FFF2-40B4-BE49-F238E27FC236}">
                      <a16:creationId xmlns:a16="http://schemas.microsoft.com/office/drawing/2014/main" id="{6BFB490E-4705-24D6-1F7E-ACD744AD832E}"/>
                    </a:ext>
                  </a:extLst>
                </p:cNvPr>
                <p:cNvSpPr txBox="1"/>
                <p:nvPr/>
              </p:nvSpPr>
              <p:spPr>
                <a:xfrm>
                  <a:off x="2211005" y="3046530"/>
                  <a:ext cx="999331" cy="1926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Franklin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</p:grpSp>
          <p:sp>
            <p:nvSpPr>
              <p:cNvPr id="12" name="Elipse 11">
                <a:extLst>
                  <a:ext uri="{FF2B5EF4-FFF2-40B4-BE49-F238E27FC236}">
                    <a16:creationId xmlns:a16="http://schemas.microsoft.com/office/drawing/2014/main" id="{E41F4E29-1A7C-94A9-4532-00027E1D5C30}"/>
                  </a:ext>
                </a:extLst>
              </p:cNvPr>
              <p:cNvSpPr/>
              <p:nvPr/>
            </p:nvSpPr>
            <p:spPr>
              <a:xfrm>
                <a:off x="1188030" y="2727432"/>
                <a:ext cx="89358" cy="86475"/>
              </a:xfrm>
              <a:prstGeom prst="ellipse">
                <a:avLst/>
              </a:prstGeom>
              <a:solidFill>
                <a:srgbClr val="FF0000"/>
              </a:solidFill>
              <a:ln w="6350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/>
              </a:p>
            </p:txBody>
          </p:sp>
          <p:sp>
            <p:nvSpPr>
              <p:cNvPr id="13" name="CuadroTexto 12">
                <a:extLst>
                  <a:ext uri="{FF2B5EF4-FFF2-40B4-BE49-F238E27FC236}">
                    <a16:creationId xmlns:a16="http://schemas.microsoft.com/office/drawing/2014/main" id="{ED0CDD9C-A5CD-5CFD-D681-4A24B7CC1E43}"/>
                  </a:ext>
                </a:extLst>
              </p:cNvPr>
              <p:cNvSpPr txBox="1"/>
              <p:nvPr/>
            </p:nvSpPr>
            <p:spPr>
              <a:xfrm>
                <a:off x="1210700" y="2671718"/>
                <a:ext cx="1046843" cy="1769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550" b="1">
                    <a:latin typeface="Century Gothic" panose="020B0502020202020204" pitchFamily="34" charset="0"/>
                  </a:rPr>
                  <a:t>Neptuno</a:t>
                </a:r>
                <a:endParaRPr lang="es-CL" sz="550" b="1"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5" name="CuadroTexto 4">
              <a:extLst>
                <a:ext uri="{FF2B5EF4-FFF2-40B4-BE49-F238E27FC236}">
                  <a16:creationId xmlns:a16="http://schemas.microsoft.com/office/drawing/2014/main" id="{E8185223-9A16-643E-C1B4-08D1091BB64C}"/>
                </a:ext>
              </a:extLst>
            </p:cNvPr>
            <p:cNvSpPr txBox="1"/>
            <p:nvPr/>
          </p:nvSpPr>
          <p:spPr>
            <a:xfrm>
              <a:off x="2462374" y="2926695"/>
              <a:ext cx="598343" cy="176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550" b="1">
                  <a:latin typeface="Century Gothic" panose="020B0502020202020204" pitchFamily="34" charset="0"/>
                </a:rPr>
                <a:t>U de Chile</a:t>
              </a:r>
              <a:endParaRPr lang="es-CL" sz="550" b="1">
                <a:latin typeface="Century Gothic" panose="020B0502020202020204" pitchFamily="34" charset="0"/>
              </a:endParaRPr>
            </a:p>
          </p:txBody>
        </p:sp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984B0861-13AB-467D-6550-FEF3B081F0C2}"/>
                </a:ext>
              </a:extLst>
            </p:cNvPr>
            <p:cNvSpPr/>
            <p:nvPr/>
          </p:nvSpPr>
          <p:spPr>
            <a:xfrm>
              <a:off x="2498857" y="3658655"/>
              <a:ext cx="78363" cy="75835"/>
            </a:xfrm>
            <a:prstGeom prst="ellipse">
              <a:avLst/>
            </a:prstGeom>
            <a:solidFill>
              <a:srgbClr val="FFFF00"/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11403664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9"/>
          <p:cNvSpPr txBox="1"/>
          <p:nvPr/>
        </p:nvSpPr>
        <p:spPr>
          <a:xfrm>
            <a:off x="0" y="6562162"/>
            <a:ext cx="52099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CL" sz="12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12</a:t>
            </a:fld>
            <a:endParaRPr sz="1200" b="0" i="0" u="none" strike="noStrike" cap="none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3" name="Imagen 2" descr="Imagen que contiene edificio, tejado, hombre, torre&#10;&#10;Descripción generada automáticamente">
            <a:extLst>
              <a:ext uri="{FF2B5EF4-FFF2-40B4-BE49-F238E27FC236}">
                <a16:creationId xmlns:a16="http://schemas.microsoft.com/office/drawing/2014/main" id="{5ED30EDA-AD00-5555-89D5-87021241F1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8838"/>
            <a:ext cx="12183828" cy="5975561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Google Shape;110;p3"/>
          <p:cNvSpPr txBox="1"/>
          <p:nvPr/>
        </p:nvSpPr>
        <p:spPr>
          <a:xfrm>
            <a:off x="0" y="6551529"/>
            <a:ext cx="52099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CL" sz="12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13</a:t>
            </a:fld>
            <a:endParaRPr sz="1200" b="0" i="0" u="none" strike="noStrike" cap="none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4" name="Imagen 3" descr="Puente de madera&#10;&#10;Descripción generada automáticamente con confianza media">
            <a:extLst>
              <a:ext uri="{FF2B5EF4-FFF2-40B4-BE49-F238E27FC236}">
                <a16:creationId xmlns:a16="http://schemas.microsoft.com/office/drawing/2014/main" id="{EA5BEA6A-892D-AE5A-D50C-E47E0544C2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14396"/>
            <a:ext cx="12734168" cy="6614131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39B36CC3-FB91-32E1-BDCD-BED7F14A8B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56D2DDD-EC3B-2E70-411D-7D5ABF1258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Marcador de contenido 2">
            <a:extLst>
              <a:ext uri="{FF2B5EF4-FFF2-40B4-BE49-F238E27FC236}">
                <a16:creationId xmlns:a16="http://schemas.microsoft.com/office/drawing/2014/main" id="{8E8C10B0-E0FF-182F-E8F5-02C3D52DF33A}"/>
              </a:ext>
            </a:extLst>
          </p:cNvPr>
          <p:cNvSpPr txBox="1">
            <a:spLocks/>
          </p:cNvSpPr>
          <p:nvPr/>
        </p:nvSpPr>
        <p:spPr>
          <a:xfrm>
            <a:off x="4837482" y="972510"/>
            <a:ext cx="6691106" cy="376738"/>
          </a:xfrm>
          <a:prstGeom prst="rect">
            <a:avLst/>
          </a:prstGeom>
        </p:spPr>
        <p:txBody>
          <a:bodyPr>
            <a:noAutofit/>
          </a:bodyPr>
          <a:lstStyle>
            <a:lvl1pPr marL="342919" indent="-342919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1pPr>
            <a:lvl2pPr marL="742989" indent="-285765" algn="l" defTabSz="457224" rtl="0" eaLnBrk="1" latinLnBrk="0" hangingPunct="1">
              <a:spcBef>
                <a:spcPct val="20000"/>
              </a:spcBef>
              <a:buFont typeface="Arial"/>
              <a:buChar char="–"/>
              <a:defRPr sz="1101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2pPr>
            <a:lvl3pPr marL="1143061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1051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3pPr>
            <a:lvl4pPr marL="1600284" indent="-228613" algn="l" defTabSz="457224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4pPr>
            <a:lvl5pPr marL="2057509" indent="-228613" algn="l" defTabSz="457224" rtl="0" eaLnBrk="1" latinLnBrk="0" hangingPunct="1">
              <a:spcBef>
                <a:spcPct val="20000"/>
              </a:spcBef>
              <a:buFont typeface="Arial"/>
              <a:buChar char="»"/>
              <a:defRPr sz="1000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5pPr>
            <a:lvl6pPr marL="2514733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58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82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406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24" lvl="1" indent="0">
              <a:buNone/>
            </a:pPr>
            <a:r>
              <a:rPr lang="es-MX" sz="1800" b="1">
                <a:latin typeface="Century Gothic" panose="020B0502020202020204" pitchFamily="34" charset="0"/>
              </a:rPr>
              <a:t>L2:	Franklin (1978)</a:t>
            </a:r>
            <a:r>
              <a:rPr lang="es-MX" sz="1400" b="1">
                <a:latin typeface="Century Gothic" panose="020B0502020202020204" pitchFamily="34" charset="0"/>
              </a:rPr>
              <a:t>	</a:t>
            </a:r>
          </a:p>
          <a:p>
            <a:pPr marL="457224" lvl="1" indent="0">
              <a:buNone/>
            </a:pPr>
            <a:endParaRPr lang="es-MX" sz="1400" b="1">
              <a:latin typeface="Century Gothic" panose="020B0502020202020204" pitchFamily="34" charset="0"/>
            </a:endParaRPr>
          </a:p>
        </p:txBody>
      </p:sp>
      <p:graphicFrame>
        <p:nvGraphicFramePr>
          <p:cNvPr id="51" name="Tabla 50">
            <a:extLst>
              <a:ext uri="{FF2B5EF4-FFF2-40B4-BE49-F238E27FC236}">
                <a16:creationId xmlns:a16="http://schemas.microsoft.com/office/drawing/2014/main" id="{9AE9485A-0DF9-30A3-AA01-4B9F2CDE86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3372876"/>
              </p:ext>
            </p:extLst>
          </p:nvPr>
        </p:nvGraphicFramePr>
        <p:xfrm>
          <a:off x="5387297" y="5990581"/>
          <a:ext cx="5848688" cy="531575"/>
        </p:xfrm>
        <a:graphic>
          <a:graphicData uri="http://schemas.openxmlformats.org/drawingml/2006/table">
            <a:tbl>
              <a:tblPr/>
              <a:tblGrid>
                <a:gridCol w="1421726">
                  <a:extLst>
                    <a:ext uri="{9D8B030D-6E8A-4147-A177-3AD203B41FA5}">
                      <a16:colId xmlns:a16="http://schemas.microsoft.com/office/drawing/2014/main" val="2377032666"/>
                    </a:ext>
                  </a:extLst>
                </a:gridCol>
                <a:gridCol w="1482070">
                  <a:extLst>
                    <a:ext uri="{9D8B030D-6E8A-4147-A177-3AD203B41FA5}">
                      <a16:colId xmlns:a16="http://schemas.microsoft.com/office/drawing/2014/main" val="3880338435"/>
                    </a:ext>
                  </a:extLst>
                </a:gridCol>
                <a:gridCol w="1097116">
                  <a:extLst>
                    <a:ext uri="{9D8B030D-6E8A-4147-A177-3AD203B41FA5}">
                      <a16:colId xmlns:a16="http://schemas.microsoft.com/office/drawing/2014/main" val="1883081978"/>
                    </a:ext>
                  </a:extLst>
                </a:gridCol>
                <a:gridCol w="1847776">
                  <a:extLst>
                    <a:ext uri="{9D8B030D-6E8A-4147-A177-3AD203B41FA5}">
                      <a16:colId xmlns:a16="http://schemas.microsoft.com/office/drawing/2014/main" val="1061046877"/>
                    </a:ext>
                  </a:extLst>
                </a:gridCol>
              </a:tblGrid>
              <a:tr h="306685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/>
                        </a:rPr>
                        <a:t>Estación  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/>
                        </a:rPr>
                        <a:t>Tipo estación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Estado </a:t>
                      </a:r>
                      <a:r>
                        <a:rPr lang="es-CL" sz="900" b="1" i="0" u="none" strike="noStrike" err="1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rev</a:t>
                      </a:r>
                      <a:endParaRPr lang="es-CL" sz="900" b="1" i="0" u="none" strike="noStrike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/>
                        </a:rPr>
                        <a:t>Tipo de acceso 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410548"/>
                  </a:ext>
                </a:extLst>
              </a:tr>
              <a:tr h="224890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anklin</a:t>
                      </a:r>
                      <a:endParaRPr lang="es-CL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mbinació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Bue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dículos: 1 en L2 y 2 en L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621536"/>
                  </a:ext>
                </a:extLst>
              </a:tr>
            </a:tbl>
          </a:graphicData>
        </a:graphic>
      </p:graphicFrame>
      <p:sp>
        <p:nvSpPr>
          <p:cNvPr id="6" name="CuadroTexto 5">
            <a:extLst>
              <a:ext uri="{FF2B5EF4-FFF2-40B4-BE49-F238E27FC236}">
                <a16:creationId xmlns:a16="http://schemas.microsoft.com/office/drawing/2014/main" id="{8D2E38A6-252D-D0BB-F916-7AA753E73EDB}"/>
              </a:ext>
            </a:extLst>
          </p:cNvPr>
          <p:cNvSpPr txBox="1"/>
          <p:nvPr/>
        </p:nvSpPr>
        <p:spPr>
          <a:xfrm>
            <a:off x="4822466" y="1424161"/>
            <a:ext cx="7003515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24" lvl="1" indent="0">
              <a:buNone/>
            </a:pPr>
            <a:r>
              <a:rPr lang="es-ES" sz="1400" b="1" i="1">
                <a:latin typeface="Century Gothic" panose="020B0502020202020204" pitchFamily="34" charset="0"/>
              </a:rPr>
              <a:t>Criterio de selección:  </a:t>
            </a:r>
            <a:r>
              <a:rPr lang="es-ES" sz="1400" i="1">
                <a:solidFill>
                  <a:srgbClr val="9A3488"/>
                </a:solidFill>
                <a:latin typeface="Century Gothic" panose="020B0502020202020204" pitchFamily="34" charset="0"/>
              </a:rPr>
              <a:t>Estación de alta exposición. Posibilidad de mejora zona de combinación con L6</a:t>
            </a:r>
            <a:endParaRPr lang="es-ES" sz="1400" i="1">
              <a:latin typeface="Century Gothic" panose="020B0502020202020204" pitchFamily="34" charset="0"/>
            </a:endParaRPr>
          </a:p>
          <a:p>
            <a:pPr marL="457224" lvl="1" indent="0">
              <a:buNone/>
            </a:pPr>
            <a:endParaRPr lang="es-ES" sz="1400" i="1">
              <a:latin typeface="Century Gothic" panose="020B0502020202020204" pitchFamily="34" charset="0"/>
            </a:endParaRPr>
          </a:p>
          <a:p>
            <a:pPr marL="457200" lvl="1" indent="0">
              <a:buFont typeface="Arial"/>
              <a:buNone/>
            </a:pPr>
            <a:r>
              <a:rPr lang="es-MX" sz="1400" b="1">
                <a:solidFill>
                  <a:schemeClr val="accent2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</a:rPr>
              <a:t>Carácter de la renovación: </a:t>
            </a:r>
          </a:p>
          <a:p>
            <a:pPr marL="457200" lvl="1" indent="0">
              <a:buFont typeface="Arial"/>
              <a:buNone/>
            </a:pPr>
            <a:r>
              <a:rPr lang="es-MX" sz="1400">
                <a:solidFill>
                  <a:schemeClr val="accent2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</a:rPr>
              <a:t>Rescatar los revestimientos como elemento patrimonial de la ciudad, con una propuesta actualizada.</a:t>
            </a:r>
          </a:p>
          <a:p>
            <a:pPr marL="457200" lvl="1" indent="0">
              <a:buFont typeface="Arial"/>
              <a:buNone/>
            </a:pPr>
            <a:r>
              <a:rPr lang="es-MX" sz="1400">
                <a:latin typeface="Century Gothic" panose="020B0502020202020204" pitchFamily="34" charset="0"/>
              </a:rPr>
              <a:t> 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191FD27C-1748-DAC5-6B9A-F60B83DE19A6}"/>
              </a:ext>
            </a:extLst>
          </p:cNvPr>
          <p:cNvSpPr txBox="1"/>
          <p:nvPr/>
        </p:nvSpPr>
        <p:spPr>
          <a:xfrm>
            <a:off x="719431" y="464872"/>
            <a:ext cx="68780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>
                <a:latin typeface="Century Gothic" panose="020B0502020202020204" pitchFamily="34" charset="0"/>
              </a:rPr>
              <a:t>Definición de estaciones</a:t>
            </a:r>
            <a:endParaRPr lang="es-CL" sz="1600" b="1">
              <a:latin typeface="Century Gothic" panose="020B050202020202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C97738B1-C640-B6F0-D928-CC514CEA3D6D}"/>
              </a:ext>
            </a:extLst>
          </p:cNvPr>
          <p:cNvSpPr txBox="1"/>
          <p:nvPr/>
        </p:nvSpPr>
        <p:spPr>
          <a:xfrm>
            <a:off x="731838" y="188764"/>
            <a:ext cx="1050414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9A348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valorización</a:t>
            </a:r>
            <a:r>
              <a:rPr lang="es-ES" sz="1600" u="none" strike="noStrike" baseline="0">
                <a:solidFill>
                  <a:srgbClr val="9A3488"/>
                </a:solidFill>
                <a:latin typeface="Century Gothic" panose="020B0502020202020204" pitchFamily="34" charset="0"/>
              </a:rPr>
              <a:t> del interior de estaciones en red convencional</a:t>
            </a:r>
          </a:p>
        </p:txBody>
      </p:sp>
      <p:pic>
        <p:nvPicPr>
          <p:cNvPr id="4" name="Gráfico 3" descr="Hogar con relleno sólido">
            <a:hlinkClick r:id="rId2" action="ppaction://hlinksldjump"/>
            <a:extLst>
              <a:ext uri="{FF2B5EF4-FFF2-40B4-BE49-F238E27FC236}">
                <a16:creationId xmlns:a16="http://schemas.microsoft.com/office/drawing/2014/main" id="{63D3E807-D6CF-7DA4-66F2-E6C095E63DA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454063" y="6089019"/>
            <a:ext cx="433137" cy="433137"/>
          </a:xfrm>
          <a:prstGeom prst="rect">
            <a:avLst/>
          </a:prstGeom>
        </p:spPr>
      </p:pic>
      <p:grpSp>
        <p:nvGrpSpPr>
          <p:cNvPr id="2" name="Grupo 1">
            <a:extLst>
              <a:ext uri="{FF2B5EF4-FFF2-40B4-BE49-F238E27FC236}">
                <a16:creationId xmlns:a16="http://schemas.microsoft.com/office/drawing/2014/main" id="{7E406BEA-7D1B-B5EA-2A85-1CBE2A8D8BDC}"/>
              </a:ext>
            </a:extLst>
          </p:cNvPr>
          <p:cNvGrpSpPr/>
          <p:nvPr/>
        </p:nvGrpSpPr>
        <p:grpSpPr>
          <a:xfrm>
            <a:off x="133907" y="862057"/>
            <a:ext cx="4882105" cy="5886126"/>
            <a:chOff x="133907" y="862057"/>
            <a:chExt cx="4882105" cy="5886126"/>
          </a:xfrm>
        </p:grpSpPr>
        <p:grpSp>
          <p:nvGrpSpPr>
            <p:cNvPr id="3" name="Grupo 2">
              <a:extLst>
                <a:ext uri="{FF2B5EF4-FFF2-40B4-BE49-F238E27FC236}">
                  <a16:creationId xmlns:a16="http://schemas.microsoft.com/office/drawing/2014/main" id="{3A67D849-0C15-3C16-DD1A-B88BAE518C1A}"/>
                </a:ext>
              </a:extLst>
            </p:cNvPr>
            <p:cNvGrpSpPr/>
            <p:nvPr/>
          </p:nvGrpSpPr>
          <p:grpSpPr>
            <a:xfrm>
              <a:off x="133907" y="862057"/>
              <a:ext cx="4882105" cy="5886126"/>
              <a:chOff x="40806" y="137063"/>
              <a:chExt cx="5567083" cy="6711972"/>
            </a:xfrm>
          </p:grpSpPr>
          <p:grpSp>
            <p:nvGrpSpPr>
              <p:cNvPr id="11" name="Grupo 10">
                <a:extLst>
                  <a:ext uri="{FF2B5EF4-FFF2-40B4-BE49-F238E27FC236}">
                    <a16:creationId xmlns:a16="http://schemas.microsoft.com/office/drawing/2014/main" id="{4FB9BFBF-23B1-5C4B-A642-D7EBB7DE35FD}"/>
                  </a:ext>
                </a:extLst>
              </p:cNvPr>
              <p:cNvGrpSpPr/>
              <p:nvPr/>
            </p:nvGrpSpPr>
            <p:grpSpPr>
              <a:xfrm>
                <a:off x="40806" y="137063"/>
                <a:ext cx="5567083" cy="6711972"/>
                <a:chOff x="342313" y="169930"/>
                <a:chExt cx="5314416" cy="6407343"/>
              </a:xfrm>
            </p:grpSpPr>
            <p:pic>
              <p:nvPicPr>
                <p:cNvPr id="14" name="Imagen 13" descr="Gráfico, Mapa&#10;&#10;Descripción generada automáticamente">
                  <a:extLst>
                    <a:ext uri="{FF2B5EF4-FFF2-40B4-BE49-F238E27FC236}">
                      <a16:creationId xmlns:a16="http://schemas.microsoft.com/office/drawing/2014/main" id="{AADD24C0-8512-9A23-4859-1C739BAEE1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8813" t="16921" r="3141" b="7995"/>
                <a:stretch/>
              </p:blipFill>
              <p:spPr>
                <a:xfrm>
                  <a:off x="342313" y="169930"/>
                  <a:ext cx="5314416" cy="6407343"/>
                </a:xfrm>
                <a:prstGeom prst="rect">
                  <a:avLst/>
                </a:prstGeom>
              </p:spPr>
            </p:pic>
            <p:sp>
              <p:nvSpPr>
                <p:cNvPr id="15" name="CuadroTexto 14">
                  <a:extLst>
                    <a:ext uri="{FF2B5EF4-FFF2-40B4-BE49-F238E27FC236}">
                      <a16:creationId xmlns:a16="http://schemas.microsoft.com/office/drawing/2014/main" id="{3B594CA4-4D4D-10C4-F4E4-D6ADDE3EEA25}"/>
                    </a:ext>
                  </a:extLst>
                </p:cNvPr>
                <p:cNvSpPr txBox="1"/>
                <p:nvPr/>
              </p:nvSpPr>
              <p:spPr>
                <a:xfrm rot="2609628">
                  <a:off x="2279578" y="4331383"/>
                  <a:ext cx="999331" cy="1769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San Ramón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16" name="Elipse 15">
                  <a:extLst>
                    <a:ext uri="{FF2B5EF4-FFF2-40B4-BE49-F238E27FC236}">
                      <a16:creationId xmlns:a16="http://schemas.microsoft.com/office/drawing/2014/main" id="{BB42C85B-AAD6-63E7-C8E0-DCC6C61BDEFC}"/>
                    </a:ext>
                  </a:extLst>
                </p:cNvPr>
                <p:cNvSpPr/>
                <p:nvPr/>
              </p:nvSpPr>
              <p:spPr>
                <a:xfrm>
                  <a:off x="3058107" y="4748210"/>
                  <a:ext cx="85302" cy="82550"/>
                </a:xfrm>
                <a:prstGeom prst="ellipse">
                  <a:avLst/>
                </a:prstGeom>
                <a:solidFill>
                  <a:srgbClr val="64CBEF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17" name="Elipse 16">
                  <a:extLst>
                    <a:ext uri="{FF2B5EF4-FFF2-40B4-BE49-F238E27FC236}">
                      <a16:creationId xmlns:a16="http://schemas.microsoft.com/office/drawing/2014/main" id="{78604A56-6425-BDF7-236E-BE4C7FAAFBE6}"/>
                    </a:ext>
                  </a:extLst>
                </p:cNvPr>
                <p:cNvSpPr/>
                <p:nvPr/>
              </p:nvSpPr>
              <p:spPr>
                <a:xfrm>
                  <a:off x="3606793" y="4748210"/>
                  <a:ext cx="85302" cy="82550"/>
                </a:xfrm>
                <a:prstGeom prst="ellipse">
                  <a:avLst/>
                </a:prstGeom>
                <a:solidFill>
                  <a:srgbClr val="64CBEF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18" name="CuadroTexto 17">
                  <a:extLst>
                    <a:ext uri="{FF2B5EF4-FFF2-40B4-BE49-F238E27FC236}">
                      <a16:creationId xmlns:a16="http://schemas.microsoft.com/office/drawing/2014/main" id="{AF453D1B-61B6-2FB5-41A6-E81BA2208661}"/>
                    </a:ext>
                  </a:extLst>
                </p:cNvPr>
                <p:cNvSpPr txBox="1"/>
                <p:nvPr/>
              </p:nvSpPr>
              <p:spPr>
                <a:xfrm rot="2609628">
                  <a:off x="3166056" y="4470759"/>
                  <a:ext cx="594332" cy="1769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La Granja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19" name="Elipse 18">
                  <a:extLst>
                    <a:ext uri="{FF2B5EF4-FFF2-40B4-BE49-F238E27FC236}">
                      <a16:creationId xmlns:a16="http://schemas.microsoft.com/office/drawing/2014/main" id="{CB53DB6E-AB95-4242-6A66-081B6885685E}"/>
                    </a:ext>
                  </a:extLst>
                </p:cNvPr>
                <p:cNvSpPr/>
                <p:nvPr/>
              </p:nvSpPr>
              <p:spPr>
                <a:xfrm>
                  <a:off x="3809199" y="4493416"/>
                  <a:ext cx="85302" cy="82550"/>
                </a:xfrm>
                <a:prstGeom prst="ellipse">
                  <a:avLst/>
                </a:prstGeom>
                <a:solidFill>
                  <a:srgbClr val="64CBEF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20" name="CuadroTexto 19">
                  <a:extLst>
                    <a:ext uri="{FF2B5EF4-FFF2-40B4-BE49-F238E27FC236}">
                      <a16:creationId xmlns:a16="http://schemas.microsoft.com/office/drawing/2014/main" id="{681DBAB3-96DB-F3BF-774D-7C5A6C51EE01}"/>
                    </a:ext>
                  </a:extLst>
                </p:cNvPr>
                <p:cNvSpPr txBox="1"/>
                <p:nvPr/>
              </p:nvSpPr>
              <p:spPr>
                <a:xfrm rot="2609628">
                  <a:off x="3115065" y="4191120"/>
                  <a:ext cx="820805" cy="1926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Santa Julia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21" name="Elipse 20">
                  <a:extLst>
                    <a:ext uri="{FF2B5EF4-FFF2-40B4-BE49-F238E27FC236}">
                      <a16:creationId xmlns:a16="http://schemas.microsoft.com/office/drawing/2014/main" id="{94D5443D-F209-F961-7342-6E4B1828EB74}"/>
                    </a:ext>
                  </a:extLst>
                </p:cNvPr>
                <p:cNvSpPr/>
                <p:nvPr/>
              </p:nvSpPr>
              <p:spPr>
                <a:xfrm>
                  <a:off x="2871015" y="2420182"/>
                  <a:ext cx="85302" cy="8255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25" name="Elipse 24">
                  <a:extLst>
                    <a:ext uri="{FF2B5EF4-FFF2-40B4-BE49-F238E27FC236}">
                      <a16:creationId xmlns:a16="http://schemas.microsoft.com/office/drawing/2014/main" id="{620D0A87-7D7A-38C9-D103-C1F76250988D}"/>
                    </a:ext>
                  </a:extLst>
                </p:cNvPr>
                <p:cNvSpPr/>
                <p:nvPr/>
              </p:nvSpPr>
              <p:spPr>
                <a:xfrm>
                  <a:off x="4483470" y="2617786"/>
                  <a:ext cx="85302" cy="82550"/>
                </a:xfrm>
                <a:prstGeom prst="ellipse">
                  <a:avLst/>
                </a:prstGeom>
                <a:solidFill>
                  <a:schemeClr val="accent2">
                    <a:lumMod val="50000"/>
                    <a:lumOff val="50000"/>
                  </a:schemeClr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26" name="CuadroTexto 25">
                  <a:extLst>
                    <a:ext uri="{FF2B5EF4-FFF2-40B4-BE49-F238E27FC236}">
                      <a16:creationId xmlns:a16="http://schemas.microsoft.com/office/drawing/2014/main" id="{998FE76A-4007-24A7-959C-2008337BD846}"/>
                    </a:ext>
                  </a:extLst>
                </p:cNvPr>
                <p:cNvSpPr txBox="1"/>
                <p:nvPr/>
              </p:nvSpPr>
              <p:spPr>
                <a:xfrm rot="18641186">
                  <a:off x="4409196" y="2246249"/>
                  <a:ext cx="827712" cy="1926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ES" sz="550" b="1">
                      <a:latin typeface="Century Gothic" panose="020B0502020202020204" pitchFamily="34" charset="0"/>
                    </a:rPr>
                    <a:t>Plaza Egaña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29" name="Elipse 28">
                  <a:extLst>
                    <a:ext uri="{FF2B5EF4-FFF2-40B4-BE49-F238E27FC236}">
                      <a16:creationId xmlns:a16="http://schemas.microsoft.com/office/drawing/2014/main" id="{6C16C2A5-E716-66B7-5281-16505E42AD65}"/>
                    </a:ext>
                  </a:extLst>
                </p:cNvPr>
                <p:cNvSpPr/>
                <p:nvPr/>
              </p:nvSpPr>
              <p:spPr>
                <a:xfrm>
                  <a:off x="2828364" y="3823891"/>
                  <a:ext cx="85302" cy="82550"/>
                </a:xfrm>
                <a:prstGeom prst="ellipse">
                  <a:avLst/>
                </a:prstGeom>
                <a:solidFill>
                  <a:srgbClr val="FFFF00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47" name="CuadroTexto 46">
                  <a:extLst>
                    <a:ext uri="{FF2B5EF4-FFF2-40B4-BE49-F238E27FC236}">
                      <a16:creationId xmlns:a16="http://schemas.microsoft.com/office/drawing/2014/main" id="{6259360E-751C-7499-1298-4E97AC74CBA8}"/>
                    </a:ext>
                  </a:extLst>
                </p:cNvPr>
                <p:cNvSpPr txBox="1"/>
                <p:nvPr/>
              </p:nvSpPr>
              <p:spPr>
                <a:xfrm>
                  <a:off x="1856192" y="3776680"/>
                  <a:ext cx="999331" cy="1769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Departamental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48" name="CuadroTexto 47">
                  <a:extLst>
                    <a:ext uri="{FF2B5EF4-FFF2-40B4-BE49-F238E27FC236}">
                      <a16:creationId xmlns:a16="http://schemas.microsoft.com/office/drawing/2014/main" id="{6BFB490E-4705-24D6-1F7E-ACD744AD832E}"/>
                    </a:ext>
                  </a:extLst>
                </p:cNvPr>
                <p:cNvSpPr txBox="1"/>
                <p:nvPr/>
              </p:nvSpPr>
              <p:spPr>
                <a:xfrm>
                  <a:off x="2211005" y="3046530"/>
                  <a:ext cx="999331" cy="1926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Franklin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</p:grpSp>
          <p:sp>
            <p:nvSpPr>
              <p:cNvPr id="12" name="Elipse 11">
                <a:extLst>
                  <a:ext uri="{FF2B5EF4-FFF2-40B4-BE49-F238E27FC236}">
                    <a16:creationId xmlns:a16="http://schemas.microsoft.com/office/drawing/2014/main" id="{E41F4E29-1A7C-94A9-4532-00027E1D5C30}"/>
                  </a:ext>
                </a:extLst>
              </p:cNvPr>
              <p:cNvSpPr/>
              <p:nvPr/>
            </p:nvSpPr>
            <p:spPr>
              <a:xfrm>
                <a:off x="1188030" y="2727432"/>
                <a:ext cx="89358" cy="86475"/>
              </a:xfrm>
              <a:prstGeom prst="ellipse">
                <a:avLst/>
              </a:prstGeom>
              <a:solidFill>
                <a:srgbClr val="FF0000"/>
              </a:solidFill>
              <a:ln w="6350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/>
              </a:p>
            </p:txBody>
          </p:sp>
          <p:sp>
            <p:nvSpPr>
              <p:cNvPr id="13" name="CuadroTexto 12">
                <a:extLst>
                  <a:ext uri="{FF2B5EF4-FFF2-40B4-BE49-F238E27FC236}">
                    <a16:creationId xmlns:a16="http://schemas.microsoft.com/office/drawing/2014/main" id="{ED0CDD9C-A5CD-5CFD-D681-4A24B7CC1E43}"/>
                  </a:ext>
                </a:extLst>
              </p:cNvPr>
              <p:cNvSpPr txBox="1"/>
              <p:nvPr/>
            </p:nvSpPr>
            <p:spPr>
              <a:xfrm>
                <a:off x="1210700" y="2671718"/>
                <a:ext cx="1046843" cy="1769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550" b="1">
                    <a:latin typeface="Century Gothic" panose="020B0502020202020204" pitchFamily="34" charset="0"/>
                  </a:rPr>
                  <a:t>Neptuno</a:t>
                </a:r>
                <a:endParaRPr lang="es-CL" sz="550" b="1"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5" name="CuadroTexto 4">
              <a:extLst>
                <a:ext uri="{FF2B5EF4-FFF2-40B4-BE49-F238E27FC236}">
                  <a16:creationId xmlns:a16="http://schemas.microsoft.com/office/drawing/2014/main" id="{E8185223-9A16-643E-C1B4-08D1091BB64C}"/>
                </a:ext>
              </a:extLst>
            </p:cNvPr>
            <p:cNvSpPr txBox="1"/>
            <p:nvPr/>
          </p:nvSpPr>
          <p:spPr>
            <a:xfrm>
              <a:off x="2462374" y="2926695"/>
              <a:ext cx="598343" cy="176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550" b="1">
                  <a:latin typeface="Century Gothic" panose="020B0502020202020204" pitchFamily="34" charset="0"/>
                </a:rPr>
                <a:t>U de Chile</a:t>
              </a:r>
              <a:endParaRPr lang="es-CL" sz="550" b="1">
                <a:latin typeface="Century Gothic" panose="020B0502020202020204" pitchFamily="34" charset="0"/>
              </a:endParaRPr>
            </a:p>
          </p:txBody>
        </p:sp>
        <p:sp>
          <p:nvSpPr>
            <p:cNvPr id="10" name="Elipse 9">
              <a:extLst>
                <a:ext uri="{FF2B5EF4-FFF2-40B4-BE49-F238E27FC236}">
                  <a16:creationId xmlns:a16="http://schemas.microsoft.com/office/drawing/2014/main" id="{984B0861-13AB-467D-6550-FEF3B081F0C2}"/>
                </a:ext>
              </a:extLst>
            </p:cNvPr>
            <p:cNvSpPr/>
            <p:nvPr/>
          </p:nvSpPr>
          <p:spPr>
            <a:xfrm>
              <a:off x="2498857" y="3658655"/>
              <a:ext cx="78363" cy="75835"/>
            </a:xfrm>
            <a:prstGeom prst="ellipse">
              <a:avLst/>
            </a:prstGeom>
            <a:solidFill>
              <a:srgbClr val="FFFF00"/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pic>
        <p:nvPicPr>
          <p:cNvPr id="1031" name="Picture 7">
            <a:extLst>
              <a:ext uri="{FF2B5EF4-FFF2-40B4-BE49-F238E27FC236}">
                <a16:creationId xmlns:a16="http://schemas.microsoft.com/office/drawing/2014/main" id="{2A31150B-5FEC-127F-6583-2EB0A443E5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54" r="10568"/>
          <a:stretch/>
        </p:blipFill>
        <p:spPr bwMode="auto">
          <a:xfrm>
            <a:off x="5320363" y="3203940"/>
            <a:ext cx="3046034" cy="2183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Imagen 31">
            <a:extLst>
              <a:ext uri="{FF2B5EF4-FFF2-40B4-BE49-F238E27FC236}">
                <a16:creationId xmlns:a16="http://schemas.microsoft.com/office/drawing/2014/main" id="{C5266FB1-5896-8DDC-2482-5C2B56BEDD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22804" y="3203941"/>
            <a:ext cx="2920333" cy="2183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2835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473D3769-3AB3-B40B-9EA7-C92790E4D4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Marcador de contenido 2">
            <a:extLst>
              <a:ext uri="{FF2B5EF4-FFF2-40B4-BE49-F238E27FC236}">
                <a16:creationId xmlns:a16="http://schemas.microsoft.com/office/drawing/2014/main" id="{0AA260FC-2B21-4D39-77F0-B65472F88B92}"/>
              </a:ext>
            </a:extLst>
          </p:cNvPr>
          <p:cNvSpPr txBox="1">
            <a:spLocks/>
          </p:cNvSpPr>
          <p:nvPr/>
        </p:nvSpPr>
        <p:spPr>
          <a:xfrm>
            <a:off x="4844919" y="1003581"/>
            <a:ext cx="6878078" cy="424613"/>
          </a:xfrm>
          <a:prstGeom prst="rect">
            <a:avLst/>
          </a:prstGeom>
        </p:spPr>
        <p:txBody>
          <a:bodyPr>
            <a:noAutofit/>
          </a:bodyPr>
          <a:lstStyle>
            <a:lvl1pPr marL="342919" indent="-342919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1pPr>
            <a:lvl2pPr marL="742989" indent="-285765" algn="l" defTabSz="457224" rtl="0" eaLnBrk="1" latinLnBrk="0" hangingPunct="1">
              <a:spcBef>
                <a:spcPct val="20000"/>
              </a:spcBef>
              <a:buFont typeface="Arial"/>
              <a:buChar char="–"/>
              <a:defRPr sz="1101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2pPr>
            <a:lvl3pPr marL="1143061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1051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3pPr>
            <a:lvl4pPr marL="1600284" indent="-228613" algn="l" defTabSz="457224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4pPr>
            <a:lvl5pPr marL="2057509" indent="-228613" algn="l" defTabSz="457224" rtl="0" eaLnBrk="1" latinLnBrk="0" hangingPunct="1">
              <a:spcBef>
                <a:spcPct val="20000"/>
              </a:spcBef>
              <a:buFont typeface="Arial"/>
              <a:buChar char="»"/>
              <a:defRPr sz="1000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5pPr>
            <a:lvl6pPr marL="2514733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58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82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406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24" lvl="1" indent="0">
              <a:buNone/>
            </a:pPr>
            <a:r>
              <a:rPr lang="es-MX" sz="1800" b="1">
                <a:latin typeface="Century Gothic" panose="020B0502020202020204" pitchFamily="34" charset="0"/>
              </a:rPr>
              <a:t>L4: 	Plaza Egaña (2005)</a:t>
            </a:r>
          </a:p>
          <a:p>
            <a:pPr marL="457224" lvl="1" indent="0">
              <a:buNone/>
            </a:pPr>
            <a:endParaRPr lang="es-CL" sz="1800">
              <a:latin typeface="Century Gothic" panose="020B0502020202020204" pitchFamily="34" charset="0"/>
            </a:endParaRPr>
          </a:p>
        </p:txBody>
      </p:sp>
      <p:pic>
        <p:nvPicPr>
          <p:cNvPr id="22" name="Imagen 21" descr="Vista de un edificio&#10;&#10;Descripción generada automáticamente con confianza baja">
            <a:extLst>
              <a:ext uri="{FF2B5EF4-FFF2-40B4-BE49-F238E27FC236}">
                <a16:creationId xmlns:a16="http://schemas.microsoft.com/office/drawing/2014/main" id="{973AFDB5-1D20-65E0-1762-3D8D6328093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167311" y="4037823"/>
            <a:ext cx="1840906" cy="1380680"/>
          </a:xfrm>
          <a:prstGeom prst="rect">
            <a:avLst/>
          </a:prstGeom>
        </p:spPr>
      </p:pic>
      <p:pic>
        <p:nvPicPr>
          <p:cNvPr id="23" name="Imagen 22" descr="Puente de madera&#10;&#10;Descripción generada automáticamente con confianza baja">
            <a:extLst>
              <a:ext uri="{FF2B5EF4-FFF2-40B4-BE49-F238E27FC236}">
                <a16:creationId xmlns:a16="http://schemas.microsoft.com/office/drawing/2014/main" id="{5D81A3B7-F716-788A-0304-FD9AB50C254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3720" y="3807707"/>
            <a:ext cx="2454542" cy="1840907"/>
          </a:xfrm>
          <a:prstGeom prst="rect">
            <a:avLst/>
          </a:prstGeom>
        </p:spPr>
      </p:pic>
      <p:pic>
        <p:nvPicPr>
          <p:cNvPr id="26" name="Imagen 25" descr="Interfaz de usuario gráfica&#10;&#10;Descripción generada automáticamente con confianza baja">
            <a:extLst>
              <a:ext uri="{FF2B5EF4-FFF2-40B4-BE49-F238E27FC236}">
                <a16:creationId xmlns:a16="http://schemas.microsoft.com/office/drawing/2014/main" id="{A56BA57B-CC55-55B9-76F9-92A96EA2C39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79" t="4876" b="3724"/>
          <a:stretch/>
        </p:blipFill>
        <p:spPr>
          <a:xfrm>
            <a:off x="9563878" y="3807707"/>
            <a:ext cx="2261759" cy="1840907"/>
          </a:xfrm>
          <a:prstGeom prst="rect">
            <a:avLst/>
          </a:prstGeom>
        </p:spPr>
      </p:pic>
      <p:graphicFrame>
        <p:nvGraphicFramePr>
          <p:cNvPr id="32" name="Tabla 31">
            <a:extLst>
              <a:ext uri="{FF2B5EF4-FFF2-40B4-BE49-F238E27FC236}">
                <a16:creationId xmlns:a16="http://schemas.microsoft.com/office/drawing/2014/main" id="{D8C6533F-AC0A-8A6F-BEA2-90D417DF0C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2638081"/>
              </p:ext>
            </p:extLst>
          </p:nvPr>
        </p:nvGraphicFramePr>
        <p:xfrm>
          <a:off x="5397425" y="6089019"/>
          <a:ext cx="5723158" cy="455213"/>
        </p:xfrm>
        <a:graphic>
          <a:graphicData uri="http://schemas.openxmlformats.org/drawingml/2006/table">
            <a:tbl>
              <a:tblPr/>
              <a:tblGrid>
                <a:gridCol w="1702185">
                  <a:extLst>
                    <a:ext uri="{9D8B030D-6E8A-4147-A177-3AD203B41FA5}">
                      <a16:colId xmlns:a16="http://schemas.microsoft.com/office/drawing/2014/main" val="2377032666"/>
                    </a:ext>
                  </a:extLst>
                </a:gridCol>
                <a:gridCol w="1322069">
                  <a:extLst>
                    <a:ext uri="{9D8B030D-6E8A-4147-A177-3AD203B41FA5}">
                      <a16:colId xmlns:a16="http://schemas.microsoft.com/office/drawing/2014/main" val="3880338435"/>
                    </a:ext>
                  </a:extLst>
                </a:gridCol>
                <a:gridCol w="1030484">
                  <a:extLst>
                    <a:ext uri="{9D8B030D-6E8A-4147-A177-3AD203B41FA5}">
                      <a16:colId xmlns:a16="http://schemas.microsoft.com/office/drawing/2014/main" val="1883081978"/>
                    </a:ext>
                  </a:extLst>
                </a:gridCol>
                <a:gridCol w="1668420">
                  <a:extLst>
                    <a:ext uri="{9D8B030D-6E8A-4147-A177-3AD203B41FA5}">
                      <a16:colId xmlns:a16="http://schemas.microsoft.com/office/drawing/2014/main" val="1061046877"/>
                    </a:ext>
                  </a:extLst>
                </a:gridCol>
              </a:tblGrid>
              <a:tr h="249145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/>
                        </a:rPr>
                        <a:t>Estación  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/>
                        </a:rPr>
                        <a:t>Tipo estación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/>
                        </a:rPr>
                        <a:t>Estado </a:t>
                      </a:r>
                      <a:r>
                        <a:rPr lang="es-CL" sz="900" b="1" i="0" u="none" strike="noStrike" err="1">
                          <a:solidFill>
                            <a:schemeClr val="bg1"/>
                          </a:solidFill>
                          <a:effectLst/>
                          <a:latin typeface="Century Gothic"/>
                        </a:rPr>
                        <a:t>rev</a:t>
                      </a:r>
                      <a:endParaRPr lang="es-CL" sz="900" b="1" i="0" u="none" strike="noStrike">
                        <a:solidFill>
                          <a:schemeClr val="bg1"/>
                        </a:solidFill>
                        <a:effectLst/>
                        <a:latin typeface="Century Gothic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Tipo de acceso 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410548"/>
                  </a:ext>
                </a:extLst>
              </a:tr>
              <a:tr h="206068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Plaza Egaña</a:t>
                      </a:r>
                      <a:endParaRPr lang="es-CL" sz="1050" b="0" i="0" u="none" strike="noStrike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Combinació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Malo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entury Gothic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scotilla (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621536"/>
                  </a:ext>
                </a:extLst>
              </a:tr>
            </a:tbl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B3C06731-3570-E636-FCE7-D7D34572FC7E}"/>
              </a:ext>
            </a:extLst>
          </p:cNvPr>
          <p:cNvSpPr txBox="1"/>
          <p:nvPr/>
        </p:nvSpPr>
        <p:spPr>
          <a:xfrm>
            <a:off x="4831731" y="1428194"/>
            <a:ext cx="6993906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lvl="1" indent="0">
              <a:buFont typeface="Arial"/>
              <a:buNone/>
            </a:pPr>
            <a:r>
              <a:rPr lang="es-ES" sz="1400" b="1" i="1">
                <a:latin typeface="Century Gothic" panose="020B0502020202020204" pitchFamily="34" charset="0"/>
              </a:rPr>
              <a:t>Criterio de selección:  </a:t>
            </a:r>
            <a:r>
              <a:rPr lang="es-CL" sz="1400" i="1">
                <a:latin typeface="Century Gothic" panose="020B0502020202020204" pitchFamily="34" charset="0"/>
              </a:rPr>
              <a:t>Estación con revestimientos en mal estado. </a:t>
            </a:r>
          </a:p>
          <a:p>
            <a:pPr marL="457200" lvl="1" indent="0">
              <a:buFont typeface="Arial"/>
              <a:buNone/>
            </a:pPr>
            <a:endParaRPr lang="es-CL" sz="1400" i="1">
              <a:latin typeface="Century Gothic" panose="020B0502020202020204" pitchFamily="34" charset="0"/>
            </a:endParaRPr>
          </a:p>
          <a:p>
            <a:pPr marL="457200" lvl="1" indent="0">
              <a:buFont typeface="Arial"/>
              <a:buNone/>
            </a:pPr>
            <a:r>
              <a:rPr lang="es-MX" sz="1400" b="1">
                <a:solidFill>
                  <a:schemeClr val="accent2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</a:rPr>
              <a:t>Carácter de la renovación: </a:t>
            </a:r>
            <a:r>
              <a:rPr lang="es-CL" sz="1400">
                <a:solidFill>
                  <a:schemeClr val="accent2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</a:rPr>
              <a:t>Reparar filtraciones, restituyendo la espacialidad original del sistema constructivo y la habitabilidad frente al usuario.</a:t>
            </a:r>
          </a:p>
          <a:p>
            <a:pPr marL="457200" lvl="1" indent="0">
              <a:buFont typeface="Arial"/>
              <a:buNone/>
            </a:pPr>
            <a:endParaRPr lang="es-CL" sz="1400">
              <a:solidFill>
                <a:schemeClr val="accent2">
                  <a:lumMod val="90000"/>
                  <a:lumOff val="10000"/>
                </a:schemeClr>
              </a:solidFill>
              <a:latin typeface="Century Gothic" panose="020B0502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s-CL" sz="1400">
                <a:latin typeface="Century Gothic" panose="020B0502020202020204" pitchFamily="34" charset="0"/>
              </a:rPr>
              <a:t>En etapa 1, el alcance en mesanina solamente considera </a:t>
            </a:r>
            <a:r>
              <a:rPr lang="es-ES" sz="1400">
                <a:latin typeface="Century Gothic" panose="020B0502020202020204" pitchFamily="34" charset="0"/>
              </a:rPr>
              <a:t>Iluminación y señalética. El mejoramiento de revestimientos será considerado en una próxima etapa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s-ES" sz="1400">
              <a:latin typeface="Century Gothic" panose="020B0502020202020204" pitchFamily="34" charset="0"/>
            </a:endParaRPr>
          </a:p>
          <a:p>
            <a:pPr marL="457200" lvl="1"/>
            <a:endParaRPr lang="es-CL" sz="1400">
              <a:latin typeface="Century Gothic" panose="020B0502020202020204" pitchFamily="34" charset="0"/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C603BDC5-9743-5A0F-5315-DE80AF17771B}"/>
              </a:ext>
            </a:extLst>
          </p:cNvPr>
          <p:cNvSpPr txBox="1"/>
          <p:nvPr/>
        </p:nvSpPr>
        <p:spPr>
          <a:xfrm>
            <a:off x="719431" y="464872"/>
            <a:ext cx="68780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>
                <a:latin typeface="Century Gothic" panose="020B0502020202020204" pitchFamily="34" charset="0"/>
              </a:rPr>
              <a:t>Definición de estaciones</a:t>
            </a:r>
            <a:endParaRPr lang="es-CL" sz="1600" b="1">
              <a:latin typeface="Century Gothic" panose="020B0502020202020204" pitchFamily="34" charset="0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586D6016-CEFC-F099-574E-24EC931F0C05}"/>
              </a:ext>
            </a:extLst>
          </p:cNvPr>
          <p:cNvSpPr txBox="1"/>
          <p:nvPr/>
        </p:nvSpPr>
        <p:spPr>
          <a:xfrm>
            <a:off x="731838" y="188764"/>
            <a:ext cx="1050414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9A348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valorización</a:t>
            </a:r>
            <a:r>
              <a:rPr lang="es-ES" sz="1600" u="none" strike="noStrike" baseline="0">
                <a:solidFill>
                  <a:srgbClr val="9A3488"/>
                </a:solidFill>
                <a:latin typeface="Century Gothic" panose="020B0502020202020204" pitchFamily="34" charset="0"/>
              </a:rPr>
              <a:t> del interior de estaciones en red convencional</a:t>
            </a:r>
          </a:p>
        </p:txBody>
      </p:sp>
      <p:pic>
        <p:nvPicPr>
          <p:cNvPr id="2" name="Gráfico 1" descr="Hogar con relleno sólido">
            <a:hlinkClick r:id="rId5" action="ppaction://hlinksldjump"/>
            <a:extLst>
              <a:ext uri="{FF2B5EF4-FFF2-40B4-BE49-F238E27FC236}">
                <a16:creationId xmlns:a16="http://schemas.microsoft.com/office/drawing/2014/main" id="{BEE7A41C-F4A1-E62B-1426-1B3F743557D5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54063" y="6089019"/>
            <a:ext cx="433137" cy="433137"/>
          </a:xfrm>
          <a:prstGeom prst="rect">
            <a:avLst/>
          </a:prstGeom>
        </p:spPr>
      </p:pic>
      <p:grpSp>
        <p:nvGrpSpPr>
          <p:cNvPr id="4" name="Grupo 3">
            <a:extLst>
              <a:ext uri="{FF2B5EF4-FFF2-40B4-BE49-F238E27FC236}">
                <a16:creationId xmlns:a16="http://schemas.microsoft.com/office/drawing/2014/main" id="{B7493522-4678-4417-6C80-B2ED401B1F8F}"/>
              </a:ext>
            </a:extLst>
          </p:cNvPr>
          <p:cNvGrpSpPr/>
          <p:nvPr/>
        </p:nvGrpSpPr>
        <p:grpSpPr>
          <a:xfrm>
            <a:off x="133907" y="862057"/>
            <a:ext cx="4882105" cy="5886126"/>
            <a:chOff x="133907" y="862057"/>
            <a:chExt cx="4882105" cy="5886126"/>
          </a:xfrm>
        </p:grpSpPr>
        <p:grpSp>
          <p:nvGrpSpPr>
            <p:cNvPr id="5" name="Grupo 4">
              <a:extLst>
                <a:ext uri="{FF2B5EF4-FFF2-40B4-BE49-F238E27FC236}">
                  <a16:creationId xmlns:a16="http://schemas.microsoft.com/office/drawing/2014/main" id="{63ED5315-D32C-8FDA-437B-5ED452BA9025}"/>
                </a:ext>
              </a:extLst>
            </p:cNvPr>
            <p:cNvGrpSpPr/>
            <p:nvPr/>
          </p:nvGrpSpPr>
          <p:grpSpPr>
            <a:xfrm>
              <a:off x="133907" y="862057"/>
              <a:ext cx="4882105" cy="5886126"/>
              <a:chOff x="40806" y="137063"/>
              <a:chExt cx="5567083" cy="6711972"/>
            </a:xfrm>
          </p:grpSpPr>
          <p:grpSp>
            <p:nvGrpSpPr>
              <p:cNvPr id="10" name="Grupo 9">
                <a:extLst>
                  <a:ext uri="{FF2B5EF4-FFF2-40B4-BE49-F238E27FC236}">
                    <a16:creationId xmlns:a16="http://schemas.microsoft.com/office/drawing/2014/main" id="{AADD1156-D8F0-419C-CEAD-6052BEE97138}"/>
                  </a:ext>
                </a:extLst>
              </p:cNvPr>
              <p:cNvGrpSpPr/>
              <p:nvPr/>
            </p:nvGrpSpPr>
            <p:grpSpPr>
              <a:xfrm>
                <a:off x="40806" y="137063"/>
                <a:ext cx="5567083" cy="6711972"/>
                <a:chOff x="342313" y="169930"/>
                <a:chExt cx="5314416" cy="6407343"/>
              </a:xfrm>
            </p:grpSpPr>
            <p:pic>
              <p:nvPicPr>
                <p:cNvPr id="13" name="Imagen 12" descr="Gráfico, Mapa&#10;&#10;Descripción generada automáticamente">
                  <a:extLst>
                    <a:ext uri="{FF2B5EF4-FFF2-40B4-BE49-F238E27FC236}">
                      <a16:creationId xmlns:a16="http://schemas.microsoft.com/office/drawing/2014/main" id="{F8A34757-4F96-48A9-AF44-AD57FF09FC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8813" t="16921" r="3141" b="7995"/>
                <a:stretch/>
              </p:blipFill>
              <p:spPr>
                <a:xfrm>
                  <a:off x="342313" y="169930"/>
                  <a:ext cx="5314416" cy="6407343"/>
                </a:xfrm>
                <a:prstGeom prst="rect">
                  <a:avLst/>
                </a:prstGeom>
              </p:spPr>
            </p:pic>
            <p:sp>
              <p:nvSpPr>
                <p:cNvPr id="14" name="CuadroTexto 13">
                  <a:extLst>
                    <a:ext uri="{FF2B5EF4-FFF2-40B4-BE49-F238E27FC236}">
                      <a16:creationId xmlns:a16="http://schemas.microsoft.com/office/drawing/2014/main" id="{288D0B8D-7DCD-B4E0-E132-FF1149DF6DE1}"/>
                    </a:ext>
                  </a:extLst>
                </p:cNvPr>
                <p:cNvSpPr txBox="1"/>
                <p:nvPr/>
              </p:nvSpPr>
              <p:spPr>
                <a:xfrm rot="2609628">
                  <a:off x="2279578" y="4331383"/>
                  <a:ext cx="999331" cy="1769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San Ramón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15" name="Elipse 14">
                  <a:extLst>
                    <a:ext uri="{FF2B5EF4-FFF2-40B4-BE49-F238E27FC236}">
                      <a16:creationId xmlns:a16="http://schemas.microsoft.com/office/drawing/2014/main" id="{CC388700-EE6E-03A5-4715-125F48A42F7D}"/>
                    </a:ext>
                  </a:extLst>
                </p:cNvPr>
                <p:cNvSpPr/>
                <p:nvPr/>
              </p:nvSpPr>
              <p:spPr>
                <a:xfrm>
                  <a:off x="3058107" y="4748210"/>
                  <a:ext cx="85302" cy="82550"/>
                </a:xfrm>
                <a:prstGeom prst="ellipse">
                  <a:avLst/>
                </a:prstGeom>
                <a:solidFill>
                  <a:srgbClr val="64CBEF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16" name="Elipse 15">
                  <a:extLst>
                    <a:ext uri="{FF2B5EF4-FFF2-40B4-BE49-F238E27FC236}">
                      <a16:creationId xmlns:a16="http://schemas.microsoft.com/office/drawing/2014/main" id="{69FE0136-ADCC-E09A-C202-05E15457FEAC}"/>
                    </a:ext>
                  </a:extLst>
                </p:cNvPr>
                <p:cNvSpPr/>
                <p:nvPr/>
              </p:nvSpPr>
              <p:spPr>
                <a:xfrm>
                  <a:off x="3606793" y="4748210"/>
                  <a:ext cx="85302" cy="82550"/>
                </a:xfrm>
                <a:prstGeom prst="ellipse">
                  <a:avLst/>
                </a:prstGeom>
                <a:solidFill>
                  <a:srgbClr val="64CBEF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17" name="CuadroTexto 16">
                  <a:extLst>
                    <a:ext uri="{FF2B5EF4-FFF2-40B4-BE49-F238E27FC236}">
                      <a16:creationId xmlns:a16="http://schemas.microsoft.com/office/drawing/2014/main" id="{53A260E6-C623-D3EC-CD03-D445CFBC3D04}"/>
                    </a:ext>
                  </a:extLst>
                </p:cNvPr>
                <p:cNvSpPr txBox="1"/>
                <p:nvPr/>
              </p:nvSpPr>
              <p:spPr>
                <a:xfrm rot="2609628">
                  <a:off x="3166056" y="4470759"/>
                  <a:ext cx="594332" cy="1769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La Granja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18" name="Elipse 17">
                  <a:extLst>
                    <a:ext uri="{FF2B5EF4-FFF2-40B4-BE49-F238E27FC236}">
                      <a16:creationId xmlns:a16="http://schemas.microsoft.com/office/drawing/2014/main" id="{D64B0933-2934-10FD-DF86-30B13699E574}"/>
                    </a:ext>
                  </a:extLst>
                </p:cNvPr>
                <p:cNvSpPr/>
                <p:nvPr/>
              </p:nvSpPr>
              <p:spPr>
                <a:xfrm>
                  <a:off x="3809199" y="4493416"/>
                  <a:ext cx="85302" cy="82550"/>
                </a:xfrm>
                <a:prstGeom prst="ellipse">
                  <a:avLst/>
                </a:prstGeom>
                <a:solidFill>
                  <a:srgbClr val="64CBEF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19" name="CuadroTexto 18">
                  <a:extLst>
                    <a:ext uri="{FF2B5EF4-FFF2-40B4-BE49-F238E27FC236}">
                      <a16:creationId xmlns:a16="http://schemas.microsoft.com/office/drawing/2014/main" id="{FC1FA4EE-AF7E-4550-7DCC-997F3F11B1B6}"/>
                    </a:ext>
                  </a:extLst>
                </p:cNvPr>
                <p:cNvSpPr txBox="1"/>
                <p:nvPr/>
              </p:nvSpPr>
              <p:spPr>
                <a:xfrm rot="2609628">
                  <a:off x="3115065" y="4191120"/>
                  <a:ext cx="820805" cy="1926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Santa Julia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20" name="Elipse 19">
                  <a:extLst>
                    <a:ext uri="{FF2B5EF4-FFF2-40B4-BE49-F238E27FC236}">
                      <a16:creationId xmlns:a16="http://schemas.microsoft.com/office/drawing/2014/main" id="{6BDAD565-F06C-6155-5AE7-0363AE11B29E}"/>
                    </a:ext>
                  </a:extLst>
                </p:cNvPr>
                <p:cNvSpPr/>
                <p:nvPr/>
              </p:nvSpPr>
              <p:spPr>
                <a:xfrm>
                  <a:off x="2871015" y="2420182"/>
                  <a:ext cx="85302" cy="8255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21" name="Elipse 20">
                  <a:extLst>
                    <a:ext uri="{FF2B5EF4-FFF2-40B4-BE49-F238E27FC236}">
                      <a16:creationId xmlns:a16="http://schemas.microsoft.com/office/drawing/2014/main" id="{74E6924E-62C0-F728-8C17-425A4390F98A}"/>
                    </a:ext>
                  </a:extLst>
                </p:cNvPr>
                <p:cNvSpPr/>
                <p:nvPr/>
              </p:nvSpPr>
              <p:spPr>
                <a:xfrm>
                  <a:off x="4483470" y="2617786"/>
                  <a:ext cx="85302" cy="82550"/>
                </a:xfrm>
                <a:prstGeom prst="ellipse">
                  <a:avLst/>
                </a:prstGeom>
                <a:solidFill>
                  <a:schemeClr val="accent2">
                    <a:lumMod val="50000"/>
                    <a:lumOff val="50000"/>
                  </a:schemeClr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25" name="CuadroTexto 24">
                  <a:extLst>
                    <a:ext uri="{FF2B5EF4-FFF2-40B4-BE49-F238E27FC236}">
                      <a16:creationId xmlns:a16="http://schemas.microsoft.com/office/drawing/2014/main" id="{B90240DC-326A-9760-E0AD-9BC3E593A40D}"/>
                    </a:ext>
                  </a:extLst>
                </p:cNvPr>
                <p:cNvSpPr txBox="1"/>
                <p:nvPr/>
              </p:nvSpPr>
              <p:spPr>
                <a:xfrm rot="18641186">
                  <a:off x="4409196" y="2246249"/>
                  <a:ext cx="827712" cy="1926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ES" sz="550" b="1">
                      <a:latin typeface="Century Gothic" panose="020B0502020202020204" pitchFamily="34" charset="0"/>
                    </a:rPr>
                    <a:t>Plaza Egaña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27" name="Elipse 26">
                  <a:extLst>
                    <a:ext uri="{FF2B5EF4-FFF2-40B4-BE49-F238E27FC236}">
                      <a16:creationId xmlns:a16="http://schemas.microsoft.com/office/drawing/2014/main" id="{3D2C95E7-6AEF-6657-CC6B-088E43276CAA}"/>
                    </a:ext>
                  </a:extLst>
                </p:cNvPr>
                <p:cNvSpPr/>
                <p:nvPr/>
              </p:nvSpPr>
              <p:spPr>
                <a:xfrm>
                  <a:off x="2828364" y="3823891"/>
                  <a:ext cx="85302" cy="82550"/>
                </a:xfrm>
                <a:prstGeom prst="ellipse">
                  <a:avLst/>
                </a:prstGeom>
                <a:solidFill>
                  <a:srgbClr val="FFFF00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29" name="CuadroTexto 28">
                  <a:extLst>
                    <a:ext uri="{FF2B5EF4-FFF2-40B4-BE49-F238E27FC236}">
                      <a16:creationId xmlns:a16="http://schemas.microsoft.com/office/drawing/2014/main" id="{4F5ABF17-5554-5BBF-72FB-C0B5BE911853}"/>
                    </a:ext>
                  </a:extLst>
                </p:cNvPr>
                <p:cNvSpPr txBox="1"/>
                <p:nvPr/>
              </p:nvSpPr>
              <p:spPr>
                <a:xfrm>
                  <a:off x="1856192" y="3776680"/>
                  <a:ext cx="999331" cy="1769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Departamental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30" name="CuadroTexto 29">
                  <a:extLst>
                    <a:ext uri="{FF2B5EF4-FFF2-40B4-BE49-F238E27FC236}">
                      <a16:creationId xmlns:a16="http://schemas.microsoft.com/office/drawing/2014/main" id="{7E9C677D-0B26-2767-0F96-2A949A7E6220}"/>
                    </a:ext>
                  </a:extLst>
                </p:cNvPr>
                <p:cNvSpPr txBox="1"/>
                <p:nvPr/>
              </p:nvSpPr>
              <p:spPr>
                <a:xfrm>
                  <a:off x="2211005" y="3046530"/>
                  <a:ext cx="999331" cy="1926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Franklin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</p:grpSp>
          <p:sp>
            <p:nvSpPr>
              <p:cNvPr id="11" name="Elipse 10">
                <a:extLst>
                  <a:ext uri="{FF2B5EF4-FFF2-40B4-BE49-F238E27FC236}">
                    <a16:creationId xmlns:a16="http://schemas.microsoft.com/office/drawing/2014/main" id="{7E80A8F1-DB0E-4C26-CABD-C499565D1CA4}"/>
                  </a:ext>
                </a:extLst>
              </p:cNvPr>
              <p:cNvSpPr/>
              <p:nvPr/>
            </p:nvSpPr>
            <p:spPr>
              <a:xfrm>
                <a:off x="1188030" y="2727432"/>
                <a:ext cx="89358" cy="86475"/>
              </a:xfrm>
              <a:prstGeom prst="ellipse">
                <a:avLst/>
              </a:prstGeom>
              <a:solidFill>
                <a:srgbClr val="FF0000"/>
              </a:solidFill>
              <a:ln w="6350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/>
              </a:p>
            </p:txBody>
          </p:sp>
          <p:sp>
            <p:nvSpPr>
              <p:cNvPr id="12" name="CuadroTexto 11">
                <a:extLst>
                  <a:ext uri="{FF2B5EF4-FFF2-40B4-BE49-F238E27FC236}">
                    <a16:creationId xmlns:a16="http://schemas.microsoft.com/office/drawing/2014/main" id="{D7BFEEE8-493A-0ABE-0099-FD3032470B1C}"/>
                  </a:ext>
                </a:extLst>
              </p:cNvPr>
              <p:cNvSpPr txBox="1"/>
              <p:nvPr/>
            </p:nvSpPr>
            <p:spPr>
              <a:xfrm>
                <a:off x="1210700" y="2671718"/>
                <a:ext cx="1046843" cy="1769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550" b="1">
                    <a:latin typeface="Century Gothic" panose="020B0502020202020204" pitchFamily="34" charset="0"/>
                  </a:rPr>
                  <a:t>Neptuno</a:t>
                </a:r>
                <a:endParaRPr lang="es-CL" sz="550" b="1"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8" name="CuadroTexto 7">
              <a:extLst>
                <a:ext uri="{FF2B5EF4-FFF2-40B4-BE49-F238E27FC236}">
                  <a16:creationId xmlns:a16="http://schemas.microsoft.com/office/drawing/2014/main" id="{08EA1E06-E641-C588-E769-AE47648F596F}"/>
                </a:ext>
              </a:extLst>
            </p:cNvPr>
            <p:cNvSpPr txBox="1"/>
            <p:nvPr/>
          </p:nvSpPr>
          <p:spPr>
            <a:xfrm>
              <a:off x="2462374" y="2926695"/>
              <a:ext cx="598343" cy="176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550" b="1">
                  <a:latin typeface="Century Gothic" panose="020B0502020202020204" pitchFamily="34" charset="0"/>
                </a:rPr>
                <a:t>U de Chile</a:t>
              </a:r>
              <a:endParaRPr lang="es-CL" sz="550" b="1">
                <a:latin typeface="Century Gothic" panose="020B0502020202020204" pitchFamily="34" charset="0"/>
              </a:endParaRPr>
            </a:p>
          </p:txBody>
        </p:sp>
        <p:sp>
          <p:nvSpPr>
            <p:cNvPr id="9" name="Elipse 8">
              <a:extLst>
                <a:ext uri="{FF2B5EF4-FFF2-40B4-BE49-F238E27FC236}">
                  <a16:creationId xmlns:a16="http://schemas.microsoft.com/office/drawing/2014/main" id="{C7949570-8FC7-1ABC-9330-62062D63BFF6}"/>
                </a:ext>
              </a:extLst>
            </p:cNvPr>
            <p:cNvSpPr/>
            <p:nvPr/>
          </p:nvSpPr>
          <p:spPr>
            <a:xfrm>
              <a:off x="2498857" y="3658655"/>
              <a:ext cx="78363" cy="75835"/>
            </a:xfrm>
            <a:prstGeom prst="ellipse">
              <a:avLst/>
            </a:prstGeom>
            <a:solidFill>
              <a:srgbClr val="FFFF00"/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32999577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3D3769-3AB3-B40B-9EA7-C92790E4D4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think-cell data - do not delete" hidden="1">
            <a:extLst>
              <a:ext uri="{FF2B5EF4-FFF2-40B4-BE49-F238E27FC236}">
                <a16:creationId xmlns:a16="http://schemas.microsoft.com/office/drawing/2014/main" id="{AC0865AA-C57C-643B-145B-BA3A04A018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Diapositiva de think-cell" r:id="rId5" imgW="404" imgH="405" progId="TCLayout.ActiveDocument.1">
                  <p:embed/>
                </p:oleObj>
              </mc:Choice>
              <mc:Fallback>
                <p:oleObj name="Diapositiva de think-cell" r:id="rId5" imgW="404" imgH="405" progId="TCLayout.ActiveDocument.1">
                  <p:embed/>
                  <p:pic>
                    <p:nvPicPr>
                      <p:cNvPr id="3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0865AA-C57C-643B-145B-BA3A04A018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ángulo 25">
            <a:extLst>
              <a:ext uri="{FF2B5EF4-FFF2-40B4-BE49-F238E27FC236}">
                <a16:creationId xmlns:a16="http://schemas.microsoft.com/office/drawing/2014/main" id="{7A6808DD-6CA4-A61F-69A2-DA71172996E8}"/>
              </a:ext>
            </a:extLst>
          </p:cNvPr>
          <p:cNvSpPr/>
          <p:nvPr/>
        </p:nvSpPr>
        <p:spPr>
          <a:xfrm>
            <a:off x="0" y="0"/>
            <a:ext cx="11380206" cy="8964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B2007D09-2AC3-139E-D852-06F8D9E87D66}"/>
              </a:ext>
            </a:extLst>
          </p:cNvPr>
          <p:cNvSpPr txBox="1"/>
          <p:nvPr/>
        </p:nvSpPr>
        <p:spPr>
          <a:xfrm>
            <a:off x="342680" y="264932"/>
            <a:ext cx="9618939" cy="4247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defTabSz="914400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s-ES"/>
              <a:t>San Pablo Línea 1 (1975)</a:t>
            </a:r>
            <a:endParaRPr lang="es-ES" sz="280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777EA5F0-1854-F036-6027-DD6591883F64}"/>
              </a:ext>
            </a:extLst>
          </p:cNvPr>
          <p:cNvSpPr/>
          <p:nvPr/>
        </p:nvSpPr>
        <p:spPr>
          <a:xfrm>
            <a:off x="11372584" y="-3928"/>
            <a:ext cx="819416" cy="896471"/>
          </a:xfrm>
          <a:prstGeom prst="rect">
            <a:avLst/>
          </a:prstGeom>
          <a:solidFill>
            <a:srgbClr val="9A34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36" name="Picture 6" descr="Logo de metro png imágenes | PNGWing">
            <a:extLst>
              <a:ext uri="{FF2B5EF4-FFF2-40B4-BE49-F238E27FC236}">
                <a16:creationId xmlns:a16="http://schemas.microsoft.com/office/drawing/2014/main" id="{3F3397BE-37CD-41F6-96FF-BD0AA885AE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778" b="89778" l="2667" r="97333">
                        <a14:foregroundMark x1="17333" y1="21333" x2="17333" y2="21333"/>
                        <a14:foregroundMark x1="6667" y1="32000" x2="6667" y2="32000"/>
                        <a14:foregroundMark x1="4444" y1="39556" x2="4444" y2="39556"/>
                        <a14:foregroundMark x1="2667" y1="47556" x2="2667" y2="47556"/>
                        <a14:foregroundMark x1="92000" y1="32000" x2="92444" y2="32000"/>
                        <a14:foregroundMark x1="97333" y1="45333" x2="97333" y2="45333"/>
                      </a14:backgroundRemoval>
                    </a14:imgEffect>
                    <a14:imgEffect>
                      <a14:sharpenSoften amount="51000"/>
                    </a14:imgEffect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8419" y="137691"/>
            <a:ext cx="657458" cy="657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2">
            <a:extLst>
              <a:ext uri="{FF2B5EF4-FFF2-40B4-BE49-F238E27FC236}">
                <a16:creationId xmlns:a16="http://schemas.microsoft.com/office/drawing/2014/main" id="{D83C09AA-2C36-12E1-7FCD-87B1C078F2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-609748" y="-334716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s-CL"/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71C62C23-FD3A-9D6C-4CBE-4126D67116BD}"/>
              </a:ext>
            </a:extLst>
          </p:cNvPr>
          <p:cNvSpPr/>
          <p:nvPr/>
        </p:nvSpPr>
        <p:spPr>
          <a:xfrm>
            <a:off x="516807" y="1177771"/>
            <a:ext cx="11130153" cy="83993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7224" lvl="1"/>
            <a:r>
              <a:rPr lang="es-ES" sz="14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Estación del tramo original 50 años </a:t>
            </a:r>
            <a:br>
              <a:rPr lang="es-ES" sz="14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</a:br>
            <a:r>
              <a:rPr lang="es-ES" sz="14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(San Pablo - La Moneda)</a:t>
            </a:r>
          </a:p>
        </p:txBody>
      </p:sp>
      <p:graphicFrame>
        <p:nvGraphicFramePr>
          <p:cNvPr id="24" name="Tabla 23">
            <a:extLst>
              <a:ext uri="{FF2B5EF4-FFF2-40B4-BE49-F238E27FC236}">
                <a16:creationId xmlns:a16="http://schemas.microsoft.com/office/drawing/2014/main" id="{2F873107-C785-ACCA-609C-D012B3B7FD96}"/>
              </a:ext>
            </a:extLst>
          </p:cNvPr>
          <p:cNvGraphicFramePr>
            <a:graphicFrameLocks noGrp="1"/>
          </p:cNvGraphicFramePr>
          <p:nvPr/>
        </p:nvGraphicFramePr>
        <p:xfrm>
          <a:off x="516807" y="2246969"/>
          <a:ext cx="11130154" cy="4473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65077">
                  <a:extLst>
                    <a:ext uri="{9D8B030D-6E8A-4147-A177-3AD203B41FA5}">
                      <a16:colId xmlns:a16="http://schemas.microsoft.com/office/drawing/2014/main" val="602951269"/>
                    </a:ext>
                  </a:extLst>
                </a:gridCol>
                <a:gridCol w="5565077">
                  <a:extLst>
                    <a:ext uri="{9D8B030D-6E8A-4147-A177-3AD203B41FA5}">
                      <a16:colId xmlns:a16="http://schemas.microsoft.com/office/drawing/2014/main" val="3127043530"/>
                    </a:ext>
                  </a:extLst>
                </a:gridCol>
              </a:tblGrid>
              <a:tr h="51809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b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Andé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EC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400" b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Mesani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ECF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3879680"/>
                  </a:ext>
                </a:extLst>
              </a:tr>
              <a:tr h="3955242">
                <a:tc>
                  <a:txBody>
                    <a:bodyPr/>
                    <a:lstStyle/>
                    <a:p>
                      <a:endParaRPr lang="es-CL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s-CL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3402646"/>
                  </a:ext>
                </a:extLst>
              </a:tr>
            </a:tbl>
          </a:graphicData>
        </a:graphic>
      </p:graphicFrame>
      <p:sp>
        <p:nvSpPr>
          <p:cNvPr id="1030" name="CuadroTexto 1029">
            <a:extLst>
              <a:ext uri="{FF2B5EF4-FFF2-40B4-BE49-F238E27FC236}">
                <a16:creationId xmlns:a16="http://schemas.microsoft.com/office/drawing/2014/main" id="{83D740CC-5BF5-BE28-6D67-137A5B8B48C8}"/>
              </a:ext>
            </a:extLst>
          </p:cNvPr>
          <p:cNvSpPr txBox="1"/>
          <p:nvPr/>
        </p:nvSpPr>
        <p:spPr>
          <a:xfrm>
            <a:off x="860473" y="3004570"/>
            <a:ext cx="5016239" cy="6617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CL" sz="1400">
                <a:solidFill>
                  <a:schemeClr val="tx1">
                    <a:lumMod val="65000"/>
                    <a:lumOff val="35000"/>
                  </a:schemeClr>
                </a:solidFill>
              </a:rPr>
              <a:t>Primera estación en contar con </a:t>
            </a:r>
            <a:r>
              <a:rPr lang="es-CL" sz="1400" b="1">
                <a:solidFill>
                  <a:schemeClr val="tx1">
                    <a:lumMod val="65000"/>
                    <a:lumOff val="35000"/>
                  </a:schemeClr>
                </a:solidFill>
              </a:rPr>
              <a:t>Puertas de andén</a:t>
            </a:r>
          </a:p>
          <a:p>
            <a:pPr marL="285750" indent="-285750" defTabSz="914400">
              <a:buFont typeface="Arial" panose="020B0604020202020204" pitchFamily="34" charset="0"/>
              <a:buChar char="•"/>
              <a:defRPr/>
            </a:pPr>
            <a:r>
              <a:rPr lang="es-CL" sz="1400" b="1">
                <a:solidFill>
                  <a:schemeClr val="tx1">
                    <a:lumMod val="65000"/>
                    <a:lumOff val="35000"/>
                  </a:schemeClr>
                </a:solidFill>
              </a:rPr>
              <a:t>Iluminación</a:t>
            </a:r>
          </a:p>
          <a:p>
            <a:pPr defTabSz="914400">
              <a:defRPr/>
            </a:pPr>
            <a:endParaRPr lang="es-CL" sz="9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31" name="CuadroTexto 1030">
            <a:extLst>
              <a:ext uri="{FF2B5EF4-FFF2-40B4-BE49-F238E27FC236}">
                <a16:creationId xmlns:a16="http://schemas.microsoft.com/office/drawing/2014/main" id="{8D58EA0D-9F4C-B846-7C5F-06D8C5B0CFC0}"/>
              </a:ext>
            </a:extLst>
          </p:cNvPr>
          <p:cNvSpPr txBox="1"/>
          <p:nvPr/>
        </p:nvSpPr>
        <p:spPr>
          <a:xfrm>
            <a:off x="6625297" y="3241509"/>
            <a:ext cx="475491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CL"/>
            </a:defPPr>
            <a:lvl2pPr marL="0" lvl="1">
              <a:tabLst>
                <a:tab pos="361950" algn="l"/>
              </a:tabLst>
              <a:defRPr sz="1400" b="1">
                <a:solidFill>
                  <a:srgbClr val="585858"/>
                </a:solidFill>
                <a:latin typeface="Century Gothic" panose="020B0502020202020204" pitchFamily="34" charset="0"/>
              </a:defRPr>
            </a:lvl2pPr>
          </a:lstStyle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s-ES" b="0"/>
              <a:t>Recambio de torniquetes por </a:t>
            </a:r>
            <a:r>
              <a:rPr lang="es-ES"/>
              <a:t>PBC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s-ES"/>
              <a:t>Iluminación</a:t>
            </a:r>
          </a:p>
        </p:txBody>
      </p:sp>
      <p:sp>
        <p:nvSpPr>
          <p:cNvPr id="1032" name="CuadroTexto 1031">
            <a:extLst>
              <a:ext uri="{FF2B5EF4-FFF2-40B4-BE49-F238E27FC236}">
                <a16:creationId xmlns:a16="http://schemas.microsoft.com/office/drawing/2014/main" id="{35319BD0-C9BB-6F58-3727-3655885C1DBC}"/>
              </a:ext>
            </a:extLst>
          </p:cNvPr>
          <p:cNvSpPr txBox="1"/>
          <p:nvPr/>
        </p:nvSpPr>
        <p:spPr>
          <a:xfrm>
            <a:off x="6625297" y="3004570"/>
            <a:ext cx="475491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s-CL"/>
            </a:defPPr>
            <a:lvl2pPr marL="0" lvl="1">
              <a:tabLst>
                <a:tab pos="361950" algn="l"/>
              </a:tabLst>
              <a:defRPr sz="1400" b="1">
                <a:solidFill>
                  <a:srgbClr val="585858"/>
                </a:solidFill>
                <a:latin typeface="Century Gothic" panose="020B0502020202020204" pitchFamily="34" charset="0"/>
              </a:defRPr>
            </a:lvl2pPr>
          </a:lstStyle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s-ES" b="0"/>
              <a:t>Mesanina intervenida y reconstruida post 18O</a:t>
            </a:r>
          </a:p>
        </p:txBody>
      </p:sp>
      <p:pic>
        <p:nvPicPr>
          <p:cNvPr id="3" name="Gráfico 2" descr="Hogar con relleno sólido">
            <a:hlinkClick r:id="rId9" action="ppaction://hlinksldjump"/>
            <a:extLst>
              <a:ext uri="{FF2B5EF4-FFF2-40B4-BE49-F238E27FC236}">
                <a16:creationId xmlns:a16="http://schemas.microsoft.com/office/drawing/2014/main" id="{2A0D22E3-4095-36E3-EFAF-556263EAE353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11783005" y="6413067"/>
            <a:ext cx="360001" cy="360001"/>
          </a:xfrm>
          <a:prstGeom prst="rect">
            <a:avLst/>
          </a:prstGeom>
        </p:spPr>
      </p:pic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9132AEE1-0040-0A2B-B2B2-24CE372375ED}"/>
              </a:ext>
            </a:extLst>
          </p:cNvPr>
          <p:cNvSpPr/>
          <p:nvPr/>
        </p:nvSpPr>
        <p:spPr>
          <a:xfrm>
            <a:off x="7744881" y="1661275"/>
            <a:ext cx="926513" cy="36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 defTabSz="914400">
              <a:tabLst>
                <a:tab pos="539750" algn="l"/>
              </a:tabLst>
            </a:pPr>
            <a:r>
              <a:rPr lang="es-CL" sz="900" b="1">
                <a:solidFill>
                  <a:srgbClr val="9A3488"/>
                </a:solidFill>
              </a:rPr>
              <a:t>Puertas de </a:t>
            </a:r>
          </a:p>
          <a:p>
            <a:pPr algn="ctr" defTabSz="914400">
              <a:tabLst>
                <a:tab pos="539750" algn="l"/>
              </a:tabLst>
            </a:pPr>
            <a:r>
              <a:rPr lang="es-CL" sz="900" b="1">
                <a:solidFill>
                  <a:srgbClr val="9A3488"/>
                </a:solidFill>
              </a:rPr>
              <a:t>Andén L1</a:t>
            </a:r>
          </a:p>
        </p:txBody>
      </p:sp>
      <p:sp>
        <p:nvSpPr>
          <p:cNvPr id="10" name="Rectángulo: esquinas redondeadas 9">
            <a:extLst>
              <a:ext uri="{FF2B5EF4-FFF2-40B4-BE49-F238E27FC236}">
                <a16:creationId xmlns:a16="http://schemas.microsoft.com/office/drawing/2014/main" id="{F39047E4-42F7-708B-0445-7129DE20A645}"/>
              </a:ext>
            </a:extLst>
          </p:cNvPr>
          <p:cNvSpPr/>
          <p:nvPr/>
        </p:nvSpPr>
        <p:spPr>
          <a:xfrm>
            <a:off x="6085725" y="1657708"/>
            <a:ext cx="1195333" cy="3600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/>
          <a:lstStyle/>
          <a:p>
            <a:pPr algn="ctr" defTabSz="914400">
              <a:tabLst>
                <a:tab pos="539750" algn="l"/>
              </a:tabLst>
            </a:pPr>
            <a:endParaRPr lang="es-ES" sz="900" b="1" u="none" strike="noStrike" baseline="0">
              <a:solidFill>
                <a:srgbClr val="9A3488"/>
              </a:solidFill>
            </a:endParaRPr>
          </a:p>
          <a:p>
            <a:pPr algn="ctr" defTabSz="914400">
              <a:tabLst>
                <a:tab pos="539750" algn="l"/>
              </a:tabLst>
            </a:pPr>
            <a:r>
              <a:rPr lang="es-ES" sz="900" b="1" u="none" strike="noStrike" baseline="0">
                <a:solidFill>
                  <a:srgbClr val="9A3488"/>
                </a:solidFill>
              </a:rPr>
              <a:t>Recambio de torniquetes por PBC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4EB65678-9F54-2161-DC74-F2692D0388F1}"/>
              </a:ext>
            </a:extLst>
          </p:cNvPr>
          <p:cNvGrpSpPr/>
          <p:nvPr/>
        </p:nvGrpSpPr>
        <p:grpSpPr>
          <a:xfrm>
            <a:off x="8001954" y="1334959"/>
            <a:ext cx="414220" cy="299122"/>
            <a:chOff x="7991550" y="4643853"/>
            <a:chExt cx="809743" cy="519797"/>
          </a:xfrm>
        </p:grpSpPr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1B0B57C4-B50E-4C97-F3F4-A563667EAD07}"/>
                </a:ext>
              </a:extLst>
            </p:cNvPr>
            <p:cNvSpPr/>
            <p:nvPr/>
          </p:nvSpPr>
          <p:spPr>
            <a:xfrm>
              <a:off x="7991550" y="4655552"/>
              <a:ext cx="809743" cy="479967"/>
            </a:xfrm>
            <a:custGeom>
              <a:avLst/>
              <a:gdLst>
                <a:gd name="connsiteX0" fmla="*/ 772347 w 917162"/>
                <a:gd name="connsiteY0" fmla="*/ 704850 h 762000"/>
                <a:gd name="connsiteX1" fmla="*/ 772347 w 917162"/>
                <a:gd name="connsiteY1" fmla="*/ 0 h 762000"/>
                <a:gd name="connsiteX2" fmla="*/ 144815 w 917162"/>
                <a:gd name="connsiteY2" fmla="*/ 0 h 762000"/>
                <a:gd name="connsiteX3" fmla="*/ 144815 w 917162"/>
                <a:gd name="connsiteY3" fmla="*/ 704850 h 762000"/>
                <a:gd name="connsiteX4" fmla="*/ 0 w 917162"/>
                <a:gd name="connsiteY4" fmla="*/ 704850 h 762000"/>
                <a:gd name="connsiteX5" fmla="*/ 0 w 917162"/>
                <a:gd name="connsiteY5" fmla="*/ 762000 h 762000"/>
                <a:gd name="connsiteX6" fmla="*/ 144815 w 917162"/>
                <a:gd name="connsiteY6" fmla="*/ 762000 h 762000"/>
                <a:gd name="connsiteX7" fmla="*/ 168939 w 917162"/>
                <a:gd name="connsiteY7" fmla="*/ 762000 h 762000"/>
                <a:gd name="connsiteX8" fmla="*/ 217223 w 917162"/>
                <a:gd name="connsiteY8" fmla="*/ 762000 h 762000"/>
                <a:gd name="connsiteX9" fmla="*/ 217223 w 917162"/>
                <a:gd name="connsiteY9" fmla="*/ 57150 h 762000"/>
                <a:gd name="connsiteX10" fmla="*/ 699940 w 917162"/>
                <a:gd name="connsiteY10" fmla="*/ 57150 h 762000"/>
                <a:gd name="connsiteX11" fmla="*/ 699940 w 917162"/>
                <a:gd name="connsiteY11" fmla="*/ 762000 h 762000"/>
                <a:gd name="connsiteX12" fmla="*/ 748211 w 917162"/>
                <a:gd name="connsiteY12" fmla="*/ 762000 h 762000"/>
                <a:gd name="connsiteX13" fmla="*/ 772347 w 917162"/>
                <a:gd name="connsiteY13" fmla="*/ 762000 h 762000"/>
                <a:gd name="connsiteX14" fmla="*/ 917162 w 917162"/>
                <a:gd name="connsiteY14" fmla="*/ 762000 h 762000"/>
                <a:gd name="connsiteX15" fmla="*/ 917162 w 917162"/>
                <a:gd name="connsiteY15" fmla="*/ 704850 h 762000"/>
                <a:gd name="connsiteX16" fmla="*/ 772347 w 917162"/>
                <a:gd name="connsiteY16" fmla="*/ 704850 h 76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17162" h="762000">
                  <a:moveTo>
                    <a:pt x="772347" y="704850"/>
                  </a:moveTo>
                  <a:lnTo>
                    <a:pt x="772347" y="0"/>
                  </a:lnTo>
                  <a:lnTo>
                    <a:pt x="144815" y="0"/>
                  </a:lnTo>
                  <a:lnTo>
                    <a:pt x="144815" y="704850"/>
                  </a:lnTo>
                  <a:lnTo>
                    <a:pt x="0" y="704850"/>
                  </a:lnTo>
                  <a:lnTo>
                    <a:pt x="0" y="762000"/>
                  </a:lnTo>
                  <a:lnTo>
                    <a:pt x="144815" y="762000"/>
                  </a:lnTo>
                  <a:lnTo>
                    <a:pt x="168939" y="762000"/>
                  </a:lnTo>
                  <a:lnTo>
                    <a:pt x="217223" y="762000"/>
                  </a:lnTo>
                  <a:lnTo>
                    <a:pt x="217223" y="57150"/>
                  </a:lnTo>
                  <a:lnTo>
                    <a:pt x="699940" y="57150"/>
                  </a:lnTo>
                  <a:lnTo>
                    <a:pt x="699940" y="762000"/>
                  </a:lnTo>
                  <a:lnTo>
                    <a:pt x="748211" y="762000"/>
                  </a:lnTo>
                  <a:lnTo>
                    <a:pt x="772347" y="762000"/>
                  </a:lnTo>
                  <a:lnTo>
                    <a:pt x="917162" y="762000"/>
                  </a:lnTo>
                  <a:lnTo>
                    <a:pt x="917162" y="704850"/>
                  </a:lnTo>
                  <a:lnTo>
                    <a:pt x="772347" y="704850"/>
                  </a:lnTo>
                  <a:close/>
                </a:path>
              </a:pathLst>
            </a:custGeom>
            <a:solidFill>
              <a:srgbClr val="9A3488"/>
            </a:solidFill>
            <a:ln w="1200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L"/>
            </a:p>
          </p:txBody>
        </p:sp>
        <p:sp>
          <p:nvSpPr>
            <p:cNvPr id="15" name="Rectángulo 14">
              <a:extLst>
                <a:ext uri="{FF2B5EF4-FFF2-40B4-BE49-F238E27FC236}">
                  <a16:creationId xmlns:a16="http://schemas.microsoft.com/office/drawing/2014/main" id="{C859AAD5-5F17-783D-FCCB-0CE4E9471B92}"/>
                </a:ext>
              </a:extLst>
            </p:cNvPr>
            <p:cNvSpPr/>
            <p:nvPr/>
          </p:nvSpPr>
          <p:spPr>
            <a:xfrm>
              <a:off x="8180887" y="4643853"/>
              <a:ext cx="427450" cy="51979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pic>
          <p:nvPicPr>
            <p:cNvPr id="18" name="Gráfico 17" descr="Tranvía con relleno sólido">
              <a:extLst>
                <a:ext uri="{FF2B5EF4-FFF2-40B4-BE49-F238E27FC236}">
                  <a16:creationId xmlns:a16="http://schemas.microsoft.com/office/drawing/2014/main" id="{AC4782D4-41A2-4131-1831-0001B9AE75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8159708" y="4668189"/>
              <a:ext cx="469808" cy="469808"/>
            </a:xfrm>
            <a:prstGeom prst="rect">
              <a:avLst/>
            </a:prstGeom>
          </p:spPr>
        </p:pic>
      </p:grpSp>
      <p:grpSp>
        <p:nvGrpSpPr>
          <p:cNvPr id="21" name="Grupo 20">
            <a:extLst>
              <a:ext uri="{FF2B5EF4-FFF2-40B4-BE49-F238E27FC236}">
                <a16:creationId xmlns:a16="http://schemas.microsoft.com/office/drawing/2014/main" id="{00215BBA-D31C-5DC1-C832-3C76338F6316}"/>
              </a:ext>
            </a:extLst>
          </p:cNvPr>
          <p:cNvGrpSpPr/>
          <p:nvPr/>
        </p:nvGrpSpPr>
        <p:grpSpPr>
          <a:xfrm>
            <a:off x="6415307" y="1316928"/>
            <a:ext cx="427450" cy="317564"/>
            <a:chOff x="5210042" y="1905203"/>
            <a:chExt cx="648413" cy="469550"/>
          </a:xfrm>
          <a:noFill/>
        </p:grpSpPr>
        <p:sp>
          <p:nvSpPr>
            <p:cNvPr id="22" name="Forma libre: forma 21">
              <a:extLst>
                <a:ext uri="{FF2B5EF4-FFF2-40B4-BE49-F238E27FC236}">
                  <a16:creationId xmlns:a16="http://schemas.microsoft.com/office/drawing/2014/main" id="{2229DBDE-EBE6-1E34-2B43-4562C35FF9A3}"/>
                </a:ext>
              </a:extLst>
            </p:cNvPr>
            <p:cNvSpPr/>
            <p:nvPr/>
          </p:nvSpPr>
          <p:spPr>
            <a:xfrm>
              <a:off x="5210042" y="1905203"/>
              <a:ext cx="205687" cy="469550"/>
            </a:xfrm>
            <a:custGeom>
              <a:avLst/>
              <a:gdLst>
                <a:gd name="connsiteX0" fmla="*/ 921611 w 1974079"/>
                <a:gd name="connsiteY0" fmla="*/ 3113075 h 4240895"/>
                <a:gd name="connsiteX1" fmla="*/ 687611 w 1974079"/>
                <a:gd name="connsiteY1" fmla="*/ 3347075 h 4240895"/>
                <a:gd name="connsiteX2" fmla="*/ 921611 w 1974079"/>
                <a:gd name="connsiteY2" fmla="*/ 3581075 h 4240895"/>
                <a:gd name="connsiteX3" fmla="*/ 1155611 w 1974079"/>
                <a:gd name="connsiteY3" fmla="*/ 3347075 h 4240895"/>
                <a:gd name="connsiteX4" fmla="*/ 921611 w 1974079"/>
                <a:gd name="connsiteY4" fmla="*/ 3113075 h 4240895"/>
                <a:gd name="connsiteX5" fmla="*/ 921611 w 1974079"/>
                <a:gd name="connsiteY5" fmla="*/ 2453255 h 4240895"/>
                <a:gd name="connsiteX6" fmla="*/ 687611 w 1974079"/>
                <a:gd name="connsiteY6" fmla="*/ 2687255 h 4240895"/>
                <a:gd name="connsiteX7" fmla="*/ 921611 w 1974079"/>
                <a:gd name="connsiteY7" fmla="*/ 2921255 h 4240895"/>
                <a:gd name="connsiteX8" fmla="*/ 1155611 w 1974079"/>
                <a:gd name="connsiteY8" fmla="*/ 2687255 h 4240895"/>
                <a:gd name="connsiteX9" fmla="*/ 921611 w 1974079"/>
                <a:gd name="connsiteY9" fmla="*/ 2453255 h 4240895"/>
                <a:gd name="connsiteX10" fmla="*/ 727908 w 1974079"/>
                <a:gd name="connsiteY10" fmla="*/ 583251 h 4240895"/>
                <a:gd name="connsiteX11" fmla="*/ 631054 w 1974079"/>
                <a:gd name="connsiteY11" fmla="*/ 680105 h 4240895"/>
                <a:gd name="connsiteX12" fmla="*/ 631054 w 1974079"/>
                <a:gd name="connsiteY12" fmla="*/ 2101552 h 4240895"/>
                <a:gd name="connsiteX13" fmla="*/ 727908 w 1974079"/>
                <a:gd name="connsiteY13" fmla="*/ 2198406 h 4240895"/>
                <a:gd name="connsiteX14" fmla="*/ 1115314 w 1974079"/>
                <a:gd name="connsiteY14" fmla="*/ 2198406 h 4240895"/>
                <a:gd name="connsiteX15" fmla="*/ 1212168 w 1974079"/>
                <a:gd name="connsiteY15" fmla="*/ 2101552 h 4240895"/>
                <a:gd name="connsiteX16" fmla="*/ 1212168 w 1974079"/>
                <a:gd name="connsiteY16" fmla="*/ 680105 h 4240895"/>
                <a:gd name="connsiteX17" fmla="*/ 1115314 w 1974079"/>
                <a:gd name="connsiteY17" fmla="*/ 583251 h 4240895"/>
                <a:gd name="connsiteX18" fmla="*/ 662019 w 1974079"/>
                <a:gd name="connsiteY18" fmla="*/ 0 h 4240895"/>
                <a:gd name="connsiteX19" fmla="*/ 1252241 w 1974079"/>
                <a:gd name="connsiteY19" fmla="*/ 0 h 4240895"/>
                <a:gd name="connsiteX20" fmla="*/ 1589519 w 1974079"/>
                <a:gd name="connsiteY20" fmla="*/ 337278 h 4240895"/>
                <a:gd name="connsiteX21" fmla="*/ 1589519 w 1974079"/>
                <a:gd name="connsiteY21" fmla="*/ 3574323 h 4240895"/>
                <a:gd name="connsiteX22" fmla="*/ 1640793 w 1974079"/>
                <a:gd name="connsiteY22" fmla="*/ 3574323 h 4240895"/>
                <a:gd name="connsiteX23" fmla="*/ 1974079 w 1974079"/>
                <a:gd name="connsiteY23" fmla="*/ 3907609 h 4240895"/>
                <a:gd name="connsiteX24" fmla="*/ 1974079 w 1974079"/>
                <a:gd name="connsiteY24" fmla="*/ 4129797 h 4240895"/>
                <a:gd name="connsiteX25" fmla="*/ 1862981 w 1974079"/>
                <a:gd name="connsiteY25" fmla="*/ 4240895 h 4240895"/>
                <a:gd name="connsiteX26" fmla="*/ 111098 w 1974079"/>
                <a:gd name="connsiteY26" fmla="*/ 4240895 h 4240895"/>
                <a:gd name="connsiteX27" fmla="*/ 0 w 1974079"/>
                <a:gd name="connsiteY27" fmla="*/ 4129797 h 4240895"/>
                <a:gd name="connsiteX28" fmla="*/ 0 w 1974079"/>
                <a:gd name="connsiteY28" fmla="*/ 3907609 h 4240895"/>
                <a:gd name="connsiteX29" fmla="*/ 203556 w 1974079"/>
                <a:gd name="connsiteY29" fmla="*/ 3600514 h 4240895"/>
                <a:gd name="connsiteX30" fmla="*/ 324741 w 1974079"/>
                <a:gd name="connsiteY30" fmla="*/ 3576048 h 4240895"/>
                <a:gd name="connsiteX31" fmla="*/ 324741 w 1974079"/>
                <a:gd name="connsiteY31" fmla="*/ 337278 h 4240895"/>
                <a:gd name="connsiteX32" fmla="*/ 662019 w 1974079"/>
                <a:gd name="connsiteY32" fmla="*/ 0 h 4240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974079" h="4240895">
                  <a:moveTo>
                    <a:pt x="921611" y="3113075"/>
                  </a:moveTo>
                  <a:cubicBezTo>
                    <a:pt x="792376" y="3113075"/>
                    <a:pt x="687611" y="3217840"/>
                    <a:pt x="687611" y="3347075"/>
                  </a:cubicBezTo>
                  <a:cubicBezTo>
                    <a:pt x="687611" y="3476310"/>
                    <a:pt x="792376" y="3581075"/>
                    <a:pt x="921611" y="3581075"/>
                  </a:cubicBezTo>
                  <a:cubicBezTo>
                    <a:pt x="1050846" y="3581075"/>
                    <a:pt x="1155611" y="3476310"/>
                    <a:pt x="1155611" y="3347075"/>
                  </a:cubicBezTo>
                  <a:cubicBezTo>
                    <a:pt x="1155611" y="3217840"/>
                    <a:pt x="1050846" y="3113075"/>
                    <a:pt x="921611" y="3113075"/>
                  </a:cubicBezTo>
                  <a:close/>
                  <a:moveTo>
                    <a:pt x="921611" y="2453255"/>
                  </a:moveTo>
                  <a:cubicBezTo>
                    <a:pt x="792376" y="2453255"/>
                    <a:pt x="687611" y="2558020"/>
                    <a:pt x="687611" y="2687255"/>
                  </a:cubicBezTo>
                  <a:cubicBezTo>
                    <a:pt x="687611" y="2816490"/>
                    <a:pt x="792376" y="2921255"/>
                    <a:pt x="921611" y="2921255"/>
                  </a:cubicBezTo>
                  <a:cubicBezTo>
                    <a:pt x="1050846" y="2921255"/>
                    <a:pt x="1155611" y="2816490"/>
                    <a:pt x="1155611" y="2687255"/>
                  </a:cubicBezTo>
                  <a:cubicBezTo>
                    <a:pt x="1155611" y="2558020"/>
                    <a:pt x="1050846" y="2453255"/>
                    <a:pt x="921611" y="2453255"/>
                  </a:cubicBezTo>
                  <a:close/>
                  <a:moveTo>
                    <a:pt x="727908" y="583251"/>
                  </a:moveTo>
                  <a:cubicBezTo>
                    <a:pt x="674417" y="583251"/>
                    <a:pt x="631054" y="626614"/>
                    <a:pt x="631054" y="680105"/>
                  </a:cubicBezTo>
                  <a:lnTo>
                    <a:pt x="631054" y="2101552"/>
                  </a:lnTo>
                  <a:cubicBezTo>
                    <a:pt x="631054" y="2155043"/>
                    <a:pt x="674417" y="2198406"/>
                    <a:pt x="727908" y="2198406"/>
                  </a:cubicBezTo>
                  <a:lnTo>
                    <a:pt x="1115314" y="2198406"/>
                  </a:lnTo>
                  <a:cubicBezTo>
                    <a:pt x="1168805" y="2198406"/>
                    <a:pt x="1212168" y="2155043"/>
                    <a:pt x="1212168" y="2101552"/>
                  </a:cubicBezTo>
                  <a:lnTo>
                    <a:pt x="1212168" y="680105"/>
                  </a:lnTo>
                  <a:cubicBezTo>
                    <a:pt x="1212168" y="626614"/>
                    <a:pt x="1168805" y="583251"/>
                    <a:pt x="1115314" y="583251"/>
                  </a:cubicBezTo>
                  <a:close/>
                  <a:moveTo>
                    <a:pt x="662019" y="0"/>
                  </a:moveTo>
                  <a:lnTo>
                    <a:pt x="1252241" y="0"/>
                  </a:lnTo>
                  <a:cubicBezTo>
                    <a:pt x="1438514" y="0"/>
                    <a:pt x="1589519" y="151005"/>
                    <a:pt x="1589519" y="337278"/>
                  </a:cubicBezTo>
                  <a:lnTo>
                    <a:pt x="1589519" y="3574323"/>
                  </a:lnTo>
                  <a:lnTo>
                    <a:pt x="1640793" y="3574323"/>
                  </a:lnTo>
                  <a:cubicBezTo>
                    <a:pt x="1824862" y="3574323"/>
                    <a:pt x="1974079" y="3723540"/>
                    <a:pt x="1974079" y="3907609"/>
                  </a:cubicBezTo>
                  <a:lnTo>
                    <a:pt x="1974079" y="4129797"/>
                  </a:lnTo>
                  <a:cubicBezTo>
                    <a:pt x="1974079" y="4191155"/>
                    <a:pt x="1924339" y="4240895"/>
                    <a:pt x="1862981" y="4240895"/>
                  </a:cubicBezTo>
                  <a:lnTo>
                    <a:pt x="111098" y="4240895"/>
                  </a:lnTo>
                  <a:cubicBezTo>
                    <a:pt x="49740" y="4240895"/>
                    <a:pt x="0" y="4191155"/>
                    <a:pt x="0" y="4129797"/>
                  </a:cubicBezTo>
                  <a:lnTo>
                    <a:pt x="0" y="3907609"/>
                  </a:lnTo>
                  <a:cubicBezTo>
                    <a:pt x="0" y="3769557"/>
                    <a:pt x="83934" y="3651110"/>
                    <a:pt x="203556" y="3600514"/>
                  </a:cubicBezTo>
                  <a:lnTo>
                    <a:pt x="324741" y="3576048"/>
                  </a:lnTo>
                  <a:lnTo>
                    <a:pt x="324741" y="337278"/>
                  </a:lnTo>
                  <a:cubicBezTo>
                    <a:pt x="324741" y="151005"/>
                    <a:pt x="475746" y="0"/>
                    <a:pt x="662019" y="0"/>
                  </a:cubicBezTo>
                  <a:close/>
                </a:path>
              </a:pathLst>
            </a:custGeom>
            <a:grpFill/>
            <a:ln w="12700">
              <a:solidFill>
                <a:srgbClr val="9A348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CL"/>
            </a:p>
          </p:txBody>
        </p:sp>
        <p:sp>
          <p:nvSpPr>
            <p:cNvPr id="23" name="Rectángulo: esquinas superiores redondeadas 22">
              <a:extLst>
                <a:ext uri="{FF2B5EF4-FFF2-40B4-BE49-F238E27FC236}">
                  <a16:creationId xmlns:a16="http://schemas.microsoft.com/office/drawing/2014/main" id="{D62579D2-DEB6-B3B8-2E0C-A8E4D36EBA5A}"/>
                </a:ext>
              </a:extLst>
            </p:cNvPr>
            <p:cNvSpPr/>
            <p:nvPr/>
          </p:nvSpPr>
          <p:spPr>
            <a:xfrm rot="5400000">
              <a:off x="5310734" y="2043512"/>
              <a:ext cx="268482" cy="140882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12700">
              <a:solidFill>
                <a:srgbClr val="9A348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CL"/>
            </a:p>
          </p:txBody>
        </p:sp>
        <p:sp>
          <p:nvSpPr>
            <p:cNvPr id="25" name="Forma libre: forma 24">
              <a:extLst>
                <a:ext uri="{FF2B5EF4-FFF2-40B4-BE49-F238E27FC236}">
                  <a16:creationId xmlns:a16="http://schemas.microsoft.com/office/drawing/2014/main" id="{5527BDC2-AEFB-BCAF-D6D5-A1179FCEEDE1}"/>
                </a:ext>
              </a:extLst>
            </p:cNvPr>
            <p:cNvSpPr/>
            <p:nvPr/>
          </p:nvSpPr>
          <p:spPr>
            <a:xfrm>
              <a:off x="5652768" y="1905203"/>
              <a:ext cx="205687" cy="469550"/>
            </a:xfrm>
            <a:custGeom>
              <a:avLst/>
              <a:gdLst>
                <a:gd name="connsiteX0" fmla="*/ 921611 w 1974079"/>
                <a:gd name="connsiteY0" fmla="*/ 3113075 h 4240895"/>
                <a:gd name="connsiteX1" fmla="*/ 687611 w 1974079"/>
                <a:gd name="connsiteY1" fmla="*/ 3347075 h 4240895"/>
                <a:gd name="connsiteX2" fmla="*/ 921611 w 1974079"/>
                <a:gd name="connsiteY2" fmla="*/ 3581075 h 4240895"/>
                <a:gd name="connsiteX3" fmla="*/ 1155611 w 1974079"/>
                <a:gd name="connsiteY3" fmla="*/ 3347075 h 4240895"/>
                <a:gd name="connsiteX4" fmla="*/ 921611 w 1974079"/>
                <a:gd name="connsiteY4" fmla="*/ 3113075 h 4240895"/>
                <a:gd name="connsiteX5" fmla="*/ 921611 w 1974079"/>
                <a:gd name="connsiteY5" fmla="*/ 2453255 h 4240895"/>
                <a:gd name="connsiteX6" fmla="*/ 687611 w 1974079"/>
                <a:gd name="connsiteY6" fmla="*/ 2687255 h 4240895"/>
                <a:gd name="connsiteX7" fmla="*/ 921611 w 1974079"/>
                <a:gd name="connsiteY7" fmla="*/ 2921255 h 4240895"/>
                <a:gd name="connsiteX8" fmla="*/ 1155611 w 1974079"/>
                <a:gd name="connsiteY8" fmla="*/ 2687255 h 4240895"/>
                <a:gd name="connsiteX9" fmla="*/ 921611 w 1974079"/>
                <a:gd name="connsiteY9" fmla="*/ 2453255 h 4240895"/>
                <a:gd name="connsiteX10" fmla="*/ 727908 w 1974079"/>
                <a:gd name="connsiteY10" fmla="*/ 583251 h 4240895"/>
                <a:gd name="connsiteX11" fmla="*/ 631054 w 1974079"/>
                <a:gd name="connsiteY11" fmla="*/ 680105 h 4240895"/>
                <a:gd name="connsiteX12" fmla="*/ 631054 w 1974079"/>
                <a:gd name="connsiteY12" fmla="*/ 2101552 h 4240895"/>
                <a:gd name="connsiteX13" fmla="*/ 727908 w 1974079"/>
                <a:gd name="connsiteY13" fmla="*/ 2198406 h 4240895"/>
                <a:gd name="connsiteX14" fmla="*/ 1115314 w 1974079"/>
                <a:gd name="connsiteY14" fmla="*/ 2198406 h 4240895"/>
                <a:gd name="connsiteX15" fmla="*/ 1212168 w 1974079"/>
                <a:gd name="connsiteY15" fmla="*/ 2101552 h 4240895"/>
                <a:gd name="connsiteX16" fmla="*/ 1212168 w 1974079"/>
                <a:gd name="connsiteY16" fmla="*/ 680105 h 4240895"/>
                <a:gd name="connsiteX17" fmla="*/ 1115314 w 1974079"/>
                <a:gd name="connsiteY17" fmla="*/ 583251 h 4240895"/>
                <a:gd name="connsiteX18" fmla="*/ 662019 w 1974079"/>
                <a:gd name="connsiteY18" fmla="*/ 0 h 4240895"/>
                <a:gd name="connsiteX19" fmla="*/ 1252241 w 1974079"/>
                <a:gd name="connsiteY19" fmla="*/ 0 h 4240895"/>
                <a:gd name="connsiteX20" fmla="*/ 1589519 w 1974079"/>
                <a:gd name="connsiteY20" fmla="*/ 337278 h 4240895"/>
                <a:gd name="connsiteX21" fmla="*/ 1589519 w 1974079"/>
                <a:gd name="connsiteY21" fmla="*/ 3574323 h 4240895"/>
                <a:gd name="connsiteX22" fmla="*/ 1640793 w 1974079"/>
                <a:gd name="connsiteY22" fmla="*/ 3574323 h 4240895"/>
                <a:gd name="connsiteX23" fmla="*/ 1974079 w 1974079"/>
                <a:gd name="connsiteY23" fmla="*/ 3907609 h 4240895"/>
                <a:gd name="connsiteX24" fmla="*/ 1974079 w 1974079"/>
                <a:gd name="connsiteY24" fmla="*/ 4129797 h 4240895"/>
                <a:gd name="connsiteX25" fmla="*/ 1862981 w 1974079"/>
                <a:gd name="connsiteY25" fmla="*/ 4240895 h 4240895"/>
                <a:gd name="connsiteX26" fmla="*/ 111098 w 1974079"/>
                <a:gd name="connsiteY26" fmla="*/ 4240895 h 4240895"/>
                <a:gd name="connsiteX27" fmla="*/ 0 w 1974079"/>
                <a:gd name="connsiteY27" fmla="*/ 4129797 h 4240895"/>
                <a:gd name="connsiteX28" fmla="*/ 0 w 1974079"/>
                <a:gd name="connsiteY28" fmla="*/ 3907609 h 4240895"/>
                <a:gd name="connsiteX29" fmla="*/ 203556 w 1974079"/>
                <a:gd name="connsiteY29" fmla="*/ 3600514 h 4240895"/>
                <a:gd name="connsiteX30" fmla="*/ 324741 w 1974079"/>
                <a:gd name="connsiteY30" fmla="*/ 3576048 h 4240895"/>
                <a:gd name="connsiteX31" fmla="*/ 324741 w 1974079"/>
                <a:gd name="connsiteY31" fmla="*/ 337278 h 4240895"/>
                <a:gd name="connsiteX32" fmla="*/ 662019 w 1974079"/>
                <a:gd name="connsiteY32" fmla="*/ 0 h 4240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974079" h="4240895">
                  <a:moveTo>
                    <a:pt x="921611" y="3113075"/>
                  </a:moveTo>
                  <a:cubicBezTo>
                    <a:pt x="792376" y="3113075"/>
                    <a:pt x="687611" y="3217840"/>
                    <a:pt x="687611" y="3347075"/>
                  </a:cubicBezTo>
                  <a:cubicBezTo>
                    <a:pt x="687611" y="3476310"/>
                    <a:pt x="792376" y="3581075"/>
                    <a:pt x="921611" y="3581075"/>
                  </a:cubicBezTo>
                  <a:cubicBezTo>
                    <a:pt x="1050846" y="3581075"/>
                    <a:pt x="1155611" y="3476310"/>
                    <a:pt x="1155611" y="3347075"/>
                  </a:cubicBezTo>
                  <a:cubicBezTo>
                    <a:pt x="1155611" y="3217840"/>
                    <a:pt x="1050846" y="3113075"/>
                    <a:pt x="921611" y="3113075"/>
                  </a:cubicBezTo>
                  <a:close/>
                  <a:moveTo>
                    <a:pt x="921611" y="2453255"/>
                  </a:moveTo>
                  <a:cubicBezTo>
                    <a:pt x="792376" y="2453255"/>
                    <a:pt x="687611" y="2558020"/>
                    <a:pt x="687611" y="2687255"/>
                  </a:cubicBezTo>
                  <a:cubicBezTo>
                    <a:pt x="687611" y="2816490"/>
                    <a:pt x="792376" y="2921255"/>
                    <a:pt x="921611" y="2921255"/>
                  </a:cubicBezTo>
                  <a:cubicBezTo>
                    <a:pt x="1050846" y="2921255"/>
                    <a:pt x="1155611" y="2816490"/>
                    <a:pt x="1155611" y="2687255"/>
                  </a:cubicBezTo>
                  <a:cubicBezTo>
                    <a:pt x="1155611" y="2558020"/>
                    <a:pt x="1050846" y="2453255"/>
                    <a:pt x="921611" y="2453255"/>
                  </a:cubicBezTo>
                  <a:close/>
                  <a:moveTo>
                    <a:pt x="727908" y="583251"/>
                  </a:moveTo>
                  <a:cubicBezTo>
                    <a:pt x="674417" y="583251"/>
                    <a:pt x="631054" y="626614"/>
                    <a:pt x="631054" y="680105"/>
                  </a:cubicBezTo>
                  <a:lnTo>
                    <a:pt x="631054" y="2101552"/>
                  </a:lnTo>
                  <a:cubicBezTo>
                    <a:pt x="631054" y="2155043"/>
                    <a:pt x="674417" y="2198406"/>
                    <a:pt x="727908" y="2198406"/>
                  </a:cubicBezTo>
                  <a:lnTo>
                    <a:pt x="1115314" y="2198406"/>
                  </a:lnTo>
                  <a:cubicBezTo>
                    <a:pt x="1168805" y="2198406"/>
                    <a:pt x="1212168" y="2155043"/>
                    <a:pt x="1212168" y="2101552"/>
                  </a:cubicBezTo>
                  <a:lnTo>
                    <a:pt x="1212168" y="680105"/>
                  </a:lnTo>
                  <a:cubicBezTo>
                    <a:pt x="1212168" y="626614"/>
                    <a:pt x="1168805" y="583251"/>
                    <a:pt x="1115314" y="583251"/>
                  </a:cubicBezTo>
                  <a:close/>
                  <a:moveTo>
                    <a:pt x="662019" y="0"/>
                  </a:moveTo>
                  <a:lnTo>
                    <a:pt x="1252241" y="0"/>
                  </a:lnTo>
                  <a:cubicBezTo>
                    <a:pt x="1438514" y="0"/>
                    <a:pt x="1589519" y="151005"/>
                    <a:pt x="1589519" y="337278"/>
                  </a:cubicBezTo>
                  <a:lnTo>
                    <a:pt x="1589519" y="3574323"/>
                  </a:lnTo>
                  <a:lnTo>
                    <a:pt x="1640793" y="3574323"/>
                  </a:lnTo>
                  <a:cubicBezTo>
                    <a:pt x="1824862" y="3574323"/>
                    <a:pt x="1974079" y="3723540"/>
                    <a:pt x="1974079" y="3907609"/>
                  </a:cubicBezTo>
                  <a:lnTo>
                    <a:pt x="1974079" y="4129797"/>
                  </a:lnTo>
                  <a:cubicBezTo>
                    <a:pt x="1974079" y="4191155"/>
                    <a:pt x="1924339" y="4240895"/>
                    <a:pt x="1862981" y="4240895"/>
                  </a:cubicBezTo>
                  <a:lnTo>
                    <a:pt x="111098" y="4240895"/>
                  </a:lnTo>
                  <a:cubicBezTo>
                    <a:pt x="49740" y="4240895"/>
                    <a:pt x="0" y="4191155"/>
                    <a:pt x="0" y="4129797"/>
                  </a:cubicBezTo>
                  <a:lnTo>
                    <a:pt x="0" y="3907609"/>
                  </a:lnTo>
                  <a:cubicBezTo>
                    <a:pt x="0" y="3769557"/>
                    <a:pt x="83934" y="3651110"/>
                    <a:pt x="203556" y="3600514"/>
                  </a:cubicBezTo>
                  <a:lnTo>
                    <a:pt x="324741" y="3576048"/>
                  </a:lnTo>
                  <a:lnTo>
                    <a:pt x="324741" y="337278"/>
                  </a:lnTo>
                  <a:cubicBezTo>
                    <a:pt x="324741" y="151005"/>
                    <a:pt x="475746" y="0"/>
                    <a:pt x="662019" y="0"/>
                  </a:cubicBezTo>
                  <a:close/>
                </a:path>
              </a:pathLst>
            </a:custGeom>
            <a:grpFill/>
            <a:ln w="12700">
              <a:solidFill>
                <a:srgbClr val="9A348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CL"/>
            </a:p>
          </p:txBody>
        </p:sp>
        <p:sp>
          <p:nvSpPr>
            <p:cNvPr id="27" name="Rectángulo: esquinas superiores redondeadas 26">
              <a:extLst>
                <a:ext uri="{FF2B5EF4-FFF2-40B4-BE49-F238E27FC236}">
                  <a16:creationId xmlns:a16="http://schemas.microsoft.com/office/drawing/2014/main" id="{8DF03C8A-64BB-C134-7E51-B4B5E1D2F3E5}"/>
                </a:ext>
              </a:extLst>
            </p:cNvPr>
            <p:cNvSpPr/>
            <p:nvPr/>
          </p:nvSpPr>
          <p:spPr>
            <a:xfrm rot="16200000" flipH="1">
              <a:off x="5482468" y="2043512"/>
              <a:ext cx="268482" cy="140882"/>
            </a:xfrm>
            <a:prstGeom prst="round2SameRect">
              <a:avLst>
                <a:gd name="adj1" fmla="val 50000"/>
                <a:gd name="adj2" fmla="val 0"/>
              </a:avLst>
            </a:prstGeom>
            <a:grpFill/>
            <a:ln w="12700">
              <a:solidFill>
                <a:srgbClr val="9A3488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s-CL"/>
            </a:p>
          </p:txBody>
        </p:sp>
      </p:grpSp>
      <p:pic>
        <p:nvPicPr>
          <p:cNvPr id="17" name="Imagen 16">
            <a:extLst>
              <a:ext uri="{FF2B5EF4-FFF2-40B4-BE49-F238E27FC236}">
                <a16:creationId xmlns:a16="http://schemas.microsoft.com/office/drawing/2014/main" id="{7D5DA7C0-0AD8-0DCA-940D-DB7980FFC49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55402" y="4158732"/>
            <a:ext cx="4467943" cy="2431733"/>
          </a:xfrm>
          <a:prstGeom prst="rect">
            <a:avLst/>
          </a:prstGeom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id="{CBEEED14-498C-7E1C-56C6-E6C1D462DBF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15307" y="4049957"/>
            <a:ext cx="4754910" cy="2525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7523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E4B9001-4083-4FF8-DBE8-55780B35A8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n 24" descr="Una estación de trenes&#10;&#10;Descripción generada automáticamente con confianza baja">
            <a:extLst>
              <a:ext uri="{FF2B5EF4-FFF2-40B4-BE49-F238E27FC236}">
                <a16:creationId xmlns:a16="http://schemas.microsoft.com/office/drawing/2014/main" id="{95096AB9-401C-82CA-8464-36771960A71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031395" y="3229256"/>
            <a:ext cx="2028020" cy="1521015"/>
          </a:xfrm>
          <a:prstGeom prst="rect">
            <a:avLst/>
          </a:prstGeom>
        </p:spPr>
      </p:pic>
      <p:pic>
        <p:nvPicPr>
          <p:cNvPr id="27" name="Imagen 26" descr="Un grupo de personas en una estación de trenes&#10;&#10;Descripción generada automáticamente con confianza baja">
            <a:extLst>
              <a:ext uri="{FF2B5EF4-FFF2-40B4-BE49-F238E27FC236}">
                <a16:creationId xmlns:a16="http://schemas.microsoft.com/office/drawing/2014/main" id="{CC3E1DAA-DA5A-6D90-CC53-EFCDB149C7A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1594" y="2988377"/>
            <a:ext cx="2680884" cy="2010663"/>
          </a:xfrm>
          <a:prstGeom prst="rect">
            <a:avLst/>
          </a:prstGeom>
        </p:spPr>
      </p:pic>
      <p:sp>
        <p:nvSpPr>
          <p:cNvPr id="24" name="Marcador de contenido 2">
            <a:extLst>
              <a:ext uri="{FF2B5EF4-FFF2-40B4-BE49-F238E27FC236}">
                <a16:creationId xmlns:a16="http://schemas.microsoft.com/office/drawing/2014/main" id="{C51F8414-7055-6342-082B-B0AFC5596E93}"/>
              </a:ext>
            </a:extLst>
          </p:cNvPr>
          <p:cNvSpPr txBox="1">
            <a:spLocks/>
          </p:cNvSpPr>
          <p:nvPr/>
        </p:nvSpPr>
        <p:spPr>
          <a:xfrm>
            <a:off x="4844641" y="976158"/>
            <a:ext cx="7095722" cy="375084"/>
          </a:xfrm>
          <a:prstGeom prst="rect">
            <a:avLst/>
          </a:prstGeom>
        </p:spPr>
        <p:txBody>
          <a:bodyPr>
            <a:noAutofit/>
          </a:bodyPr>
          <a:lstStyle>
            <a:lvl1pPr marL="342919" indent="-342919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1pPr>
            <a:lvl2pPr marL="742989" indent="-285765" algn="l" defTabSz="457224" rtl="0" eaLnBrk="1" latinLnBrk="0" hangingPunct="1">
              <a:spcBef>
                <a:spcPct val="20000"/>
              </a:spcBef>
              <a:buFont typeface="Arial"/>
              <a:buChar char="–"/>
              <a:defRPr sz="1101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2pPr>
            <a:lvl3pPr marL="1143061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1051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3pPr>
            <a:lvl4pPr marL="1600284" indent="-228613" algn="l" defTabSz="457224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4pPr>
            <a:lvl5pPr marL="2057509" indent="-228613" algn="l" defTabSz="457224" rtl="0" eaLnBrk="1" latinLnBrk="0" hangingPunct="1">
              <a:spcBef>
                <a:spcPct val="20000"/>
              </a:spcBef>
              <a:buFont typeface="Arial"/>
              <a:buChar char="»"/>
              <a:defRPr sz="1000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5pPr>
            <a:lvl6pPr marL="2514733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58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82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406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24" lvl="1" indent="0">
              <a:buNone/>
            </a:pPr>
            <a:r>
              <a:rPr lang="es-MX" sz="1800" b="1">
                <a:latin typeface="Century Gothic" panose="020B0502020202020204" pitchFamily="34" charset="0"/>
              </a:rPr>
              <a:t>L1:	Universidad de Chile (1977)</a:t>
            </a:r>
          </a:p>
          <a:p>
            <a:pPr marL="457224" lvl="1" indent="0">
              <a:buNone/>
            </a:pPr>
            <a:endParaRPr lang="es-ES" sz="1300" i="1">
              <a:solidFill>
                <a:srgbClr val="9A3488"/>
              </a:solidFill>
              <a:latin typeface="Century Gothic" panose="020B0502020202020204" pitchFamily="34" charset="0"/>
            </a:endParaRP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id="{BD44B9E3-D8B4-B587-B65B-4C1A259E8931}"/>
              </a:ext>
            </a:extLst>
          </p:cNvPr>
          <p:cNvSpPr txBox="1"/>
          <p:nvPr/>
        </p:nvSpPr>
        <p:spPr>
          <a:xfrm>
            <a:off x="4882842" y="1373540"/>
            <a:ext cx="693768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24" lvl="1" indent="0">
              <a:buNone/>
            </a:pPr>
            <a:endParaRPr lang="es-ES" sz="1400" i="1">
              <a:latin typeface="Century Gothic" panose="020B0502020202020204" pitchFamily="34" charset="0"/>
            </a:endParaRPr>
          </a:p>
          <a:p>
            <a:pPr marL="457224" lvl="1" indent="0">
              <a:buNone/>
            </a:pPr>
            <a:r>
              <a:rPr lang="es-MX" sz="1400" b="1">
                <a:solidFill>
                  <a:schemeClr val="accent2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</a:rPr>
              <a:t>Carácter de la renovación:  </a:t>
            </a:r>
            <a:r>
              <a:rPr lang="es-MX" sz="1400">
                <a:solidFill>
                  <a:schemeClr val="accent2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</a:rPr>
              <a:t>Poner en valor la propuesta de arte de la estación y actualización de estándar de locales comerciales.</a:t>
            </a:r>
          </a:p>
          <a:p>
            <a:pPr marL="457224" lvl="1" indent="0">
              <a:buNone/>
            </a:pPr>
            <a:endParaRPr lang="es-MX" sz="1400">
              <a:solidFill>
                <a:schemeClr val="accent2">
                  <a:lumMod val="90000"/>
                  <a:lumOff val="10000"/>
                </a:schemeClr>
              </a:solidFill>
              <a:latin typeface="Century Gothic" panose="020B0502020202020204" pitchFamily="34" charset="0"/>
            </a:endParaRPr>
          </a:p>
          <a:p>
            <a:pPr marL="742974" lvl="1" indent="-285750">
              <a:buFont typeface="Arial" panose="020B0604020202020204" pitchFamily="34" charset="0"/>
              <a:buChar char="•"/>
            </a:pPr>
            <a:r>
              <a:rPr lang="es-MX" sz="1400">
                <a:latin typeface="Century Gothic" panose="020B0502020202020204" pitchFamily="34" charset="0"/>
              </a:rPr>
              <a:t>Reconfiguración de locales comerciales, factibilidades técnicas de instalaciones (Eléctrica, Ventilación, Agua)</a:t>
            </a: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A3913183-9D9C-BACA-E2BD-F7226088B508}"/>
              </a:ext>
            </a:extLst>
          </p:cNvPr>
          <p:cNvSpPr txBox="1"/>
          <p:nvPr/>
        </p:nvSpPr>
        <p:spPr>
          <a:xfrm>
            <a:off x="719431" y="464872"/>
            <a:ext cx="68780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>
                <a:latin typeface="Century Gothic" panose="020B0502020202020204" pitchFamily="34" charset="0"/>
              </a:rPr>
              <a:t>Definición de estaciones</a:t>
            </a:r>
            <a:endParaRPr lang="es-CL" sz="1600" b="1">
              <a:latin typeface="Century Gothic" panose="020B0502020202020204" pitchFamily="34" charset="0"/>
            </a:endParaRP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9EC507A5-9F8D-DAED-76C3-6FC3AD534DC1}"/>
              </a:ext>
            </a:extLst>
          </p:cNvPr>
          <p:cNvSpPr txBox="1"/>
          <p:nvPr/>
        </p:nvSpPr>
        <p:spPr>
          <a:xfrm>
            <a:off x="731838" y="188764"/>
            <a:ext cx="1050414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9A348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valorización</a:t>
            </a:r>
            <a:r>
              <a:rPr lang="es-ES" sz="1600" u="none" strike="noStrike" baseline="0">
                <a:solidFill>
                  <a:srgbClr val="9A3488"/>
                </a:solidFill>
                <a:latin typeface="Century Gothic" panose="020B0502020202020204" pitchFamily="34" charset="0"/>
              </a:rPr>
              <a:t> del interior de estaciones en red convencional</a:t>
            </a:r>
          </a:p>
        </p:txBody>
      </p:sp>
      <p:pic>
        <p:nvPicPr>
          <p:cNvPr id="23" name="Gráfico 22" descr="Hogar con relleno sólido">
            <a:hlinkClick r:id="rId4" action="ppaction://hlinksldjump"/>
            <a:extLst>
              <a:ext uri="{FF2B5EF4-FFF2-40B4-BE49-F238E27FC236}">
                <a16:creationId xmlns:a16="http://schemas.microsoft.com/office/drawing/2014/main" id="{70F6E01C-6F99-D361-D7C9-C35CF3A1E214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1454063" y="6089019"/>
            <a:ext cx="433137" cy="433137"/>
          </a:xfrm>
          <a:prstGeom prst="rect">
            <a:avLst/>
          </a:prstGeom>
        </p:spPr>
      </p:pic>
      <p:graphicFrame>
        <p:nvGraphicFramePr>
          <p:cNvPr id="10" name="Tabla 9">
            <a:extLst>
              <a:ext uri="{FF2B5EF4-FFF2-40B4-BE49-F238E27FC236}">
                <a16:creationId xmlns:a16="http://schemas.microsoft.com/office/drawing/2014/main" id="{A9DFB8C9-E59A-45AB-F645-1C40E6749B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841837"/>
              </p:ext>
            </p:extLst>
          </p:nvPr>
        </p:nvGraphicFramePr>
        <p:xfrm>
          <a:off x="5953882" y="5365756"/>
          <a:ext cx="4795601" cy="516086"/>
        </p:xfrm>
        <a:graphic>
          <a:graphicData uri="http://schemas.openxmlformats.org/drawingml/2006/table">
            <a:tbl>
              <a:tblPr/>
              <a:tblGrid>
                <a:gridCol w="1739519">
                  <a:extLst>
                    <a:ext uri="{9D8B030D-6E8A-4147-A177-3AD203B41FA5}">
                      <a16:colId xmlns:a16="http://schemas.microsoft.com/office/drawing/2014/main" val="2377032666"/>
                    </a:ext>
                  </a:extLst>
                </a:gridCol>
                <a:gridCol w="1351067">
                  <a:extLst>
                    <a:ext uri="{9D8B030D-6E8A-4147-A177-3AD203B41FA5}">
                      <a16:colId xmlns:a16="http://schemas.microsoft.com/office/drawing/2014/main" val="3880338435"/>
                    </a:ext>
                  </a:extLst>
                </a:gridCol>
                <a:gridCol w="1705015">
                  <a:extLst>
                    <a:ext uri="{9D8B030D-6E8A-4147-A177-3AD203B41FA5}">
                      <a16:colId xmlns:a16="http://schemas.microsoft.com/office/drawing/2014/main" val="1061046877"/>
                    </a:ext>
                  </a:extLst>
                </a:gridCol>
              </a:tblGrid>
              <a:tr h="291196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Estación  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Tipo estación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Tipo de acceso 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410548"/>
                  </a:ext>
                </a:extLst>
              </a:tr>
              <a:tr h="224890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Universidad de Chile</a:t>
                      </a:r>
                      <a:endParaRPr lang="es-CL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mbinació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dículos y escotilla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621536"/>
                  </a:ext>
                </a:extLst>
              </a:tr>
            </a:tbl>
          </a:graphicData>
        </a:graphic>
      </p:graphicFrame>
      <p:pic>
        <p:nvPicPr>
          <p:cNvPr id="29" name="Imagen 28">
            <a:extLst>
              <a:ext uri="{FF2B5EF4-FFF2-40B4-BE49-F238E27FC236}">
                <a16:creationId xmlns:a16="http://schemas.microsoft.com/office/drawing/2014/main" id="{9DC2EB35-8660-95C6-3036-464291D2B1A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952" r="14290"/>
          <a:stretch/>
        </p:blipFill>
        <p:spPr>
          <a:xfrm>
            <a:off x="8078485" y="2988377"/>
            <a:ext cx="2070406" cy="2010663"/>
          </a:xfrm>
          <a:prstGeom prst="rect">
            <a:avLst/>
          </a:prstGeom>
        </p:spPr>
      </p:pic>
      <p:grpSp>
        <p:nvGrpSpPr>
          <p:cNvPr id="32" name="Grupo 31">
            <a:extLst>
              <a:ext uri="{FF2B5EF4-FFF2-40B4-BE49-F238E27FC236}">
                <a16:creationId xmlns:a16="http://schemas.microsoft.com/office/drawing/2014/main" id="{7B192AF9-D5AA-AF37-59AC-BDC7461E6F79}"/>
              </a:ext>
            </a:extLst>
          </p:cNvPr>
          <p:cNvGrpSpPr/>
          <p:nvPr/>
        </p:nvGrpSpPr>
        <p:grpSpPr>
          <a:xfrm>
            <a:off x="133907" y="862057"/>
            <a:ext cx="4882105" cy="5886126"/>
            <a:chOff x="133907" y="862057"/>
            <a:chExt cx="4882105" cy="5886126"/>
          </a:xfrm>
        </p:grpSpPr>
        <p:grpSp>
          <p:nvGrpSpPr>
            <p:cNvPr id="33" name="Grupo 32">
              <a:extLst>
                <a:ext uri="{FF2B5EF4-FFF2-40B4-BE49-F238E27FC236}">
                  <a16:creationId xmlns:a16="http://schemas.microsoft.com/office/drawing/2014/main" id="{8F96E01D-2025-578A-9062-3563F1ECB669}"/>
                </a:ext>
              </a:extLst>
            </p:cNvPr>
            <p:cNvGrpSpPr/>
            <p:nvPr/>
          </p:nvGrpSpPr>
          <p:grpSpPr>
            <a:xfrm>
              <a:off x="133907" y="862057"/>
              <a:ext cx="4882105" cy="5886126"/>
              <a:chOff x="40806" y="137063"/>
              <a:chExt cx="5567083" cy="6711972"/>
            </a:xfrm>
          </p:grpSpPr>
          <p:grpSp>
            <p:nvGrpSpPr>
              <p:cNvPr id="36" name="Grupo 35">
                <a:extLst>
                  <a:ext uri="{FF2B5EF4-FFF2-40B4-BE49-F238E27FC236}">
                    <a16:creationId xmlns:a16="http://schemas.microsoft.com/office/drawing/2014/main" id="{87872D49-4175-C801-8A50-E8FAD380D972}"/>
                  </a:ext>
                </a:extLst>
              </p:cNvPr>
              <p:cNvGrpSpPr/>
              <p:nvPr/>
            </p:nvGrpSpPr>
            <p:grpSpPr>
              <a:xfrm>
                <a:off x="40806" y="137063"/>
                <a:ext cx="5567083" cy="6711972"/>
                <a:chOff x="342313" y="169930"/>
                <a:chExt cx="5314416" cy="6407343"/>
              </a:xfrm>
            </p:grpSpPr>
            <p:pic>
              <p:nvPicPr>
                <p:cNvPr id="42" name="Imagen 41" descr="Gráfico, Mapa&#10;&#10;Descripción generada automáticamente">
                  <a:extLst>
                    <a:ext uri="{FF2B5EF4-FFF2-40B4-BE49-F238E27FC236}">
                      <a16:creationId xmlns:a16="http://schemas.microsoft.com/office/drawing/2014/main" id="{93C671E5-B503-54C7-F5C0-9D736C1E65B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8813" t="16921" r="3141" b="7995"/>
                <a:stretch/>
              </p:blipFill>
              <p:spPr>
                <a:xfrm>
                  <a:off x="342313" y="169930"/>
                  <a:ext cx="5314416" cy="6407343"/>
                </a:xfrm>
                <a:prstGeom prst="rect">
                  <a:avLst/>
                </a:prstGeom>
              </p:spPr>
            </p:pic>
            <p:sp>
              <p:nvSpPr>
                <p:cNvPr id="43" name="CuadroTexto 42">
                  <a:extLst>
                    <a:ext uri="{FF2B5EF4-FFF2-40B4-BE49-F238E27FC236}">
                      <a16:creationId xmlns:a16="http://schemas.microsoft.com/office/drawing/2014/main" id="{D7D1D91A-38DD-14D6-9E8B-2356052BA138}"/>
                    </a:ext>
                  </a:extLst>
                </p:cNvPr>
                <p:cNvSpPr txBox="1"/>
                <p:nvPr/>
              </p:nvSpPr>
              <p:spPr>
                <a:xfrm rot="2609628">
                  <a:off x="2279578" y="4331383"/>
                  <a:ext cx="999331" cy="1769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San Ramón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44" name="Elipse 43">
                  <a:extLst>
                    <a:ext uri="{FF2B5EF4-FFF2-40B4-BE49-F238E27FC236}">
                      <a16:creationId xmlns:a16="http://schemas.microsoft.com/office/drawing/2014/main" id="{AD6B163B-D69F-C70E-BC42-C9C7005AA521}"/>
                    </a:ext>
                  </a:extLst>
                </p:cNvPr>
                <p:cNvSpPr/>
                <p:nvPr/>
              </p:nvSpPr>
              <p:spPr>
                <a:xfrm>
                  <a:off x="3058107" y="4748210"/>
                  <a:ext cx="85302" cy="82550"/>
                </a:xfrm>
                <a:prstGeom prst="ellipse">
                  <a:avLst/>
                </a:prstGeom>
                <a:solidFill>
                  <a:srgbClr val="64CBEF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45" name="Elipse 44">
                  <a:extLst>
                    <a:ext uri="{FF2B5EF4-FFF2-40B4-BE49-F238E27FC236}">
                      <a16:creationId xmlns:a16="http://schemas.microsoft.com/office/drawing/2014/main" id="{DF4FB365-0552-20A2-C981-931ACEFFE92A}"/>
                    </a:ext>
                  </a:extLst>
                </p:cNvPr>
                <p:cNvSpPr/>
                <p:nvPr/>
              </p:nvSpPr>
              <p:spPr>
                <a:xfrm>
                  <a:off x="3606793" y="4748210"/>
                  <a:ext cx="85302" cy="82550"/>
                </a:xfrm>
                <a:prstGeom prst="ellipse">
                  <a:avLst/>
                </a:prstGeom>
                <a:solidFill>
                  <a:srgbClr val="64CBEF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46" name="CuadroTexto 45">
                  <a:extLst>
                    <a:ext uri="{FF2B5EF4-FFF2-40B4-BE49-F238E27FC236}">
                      <a16:creationId xmlns:a16="http://schemas.microsoft.com/office/drawing/2014/main" id="{27533DA4-D588-406A-C9CD-15221F5841D8}"/>
                    </a:ext>
                  </a:extLst>
                </p:cNvPr>
                <p:cNvSpPr txBox="1"/>
                <p:nvPr/>
              </p:nvSpPr>
              <p:spPr>
                <a:xfrm rot="2609628">
                  <a:off x="3166056" y="4470759"/>
                  <a:ext cx="594332" cy="1769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La Granja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47" name="Elipse 46">
                  <a:extLst>
                    <a:ext uri="{FF2B5EF4-FFF2-40B4-BE49-F238E27FC236}">
                      <a16:creationId xmlns:a16="http://schemas.microsoft.com/office/drawing/2014/main" id="{18555B53-439A-FEF0-6E7B-8345AD95A533}"/>
                    </a:ext>
                  </a:extLst>
                </p:cNvPr>
                <p:cNvSpPr/>
                <p:nvPr/>
              </p:nvSpPr>
              <p:spPr>
                <a:xfrm>
                  <a:off x="3809199" y="4493416"/>
                  <a:ext cx="85302" cy="82550"/>
                </a:xfrm>
                <a:prstGeom prst="ellipse">
                  <a:avLst/>
                </a:prstGeom>
                <a:solidFill>
                  <a:srgbClr val="64CBEF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48" name="CuadroTexto 47">
                  <a:extLst>
                    <a:ext uri="{FF2B5EF4-FFF2-40B4-BE49-F238E27FC236}">
                      <a16:creationId xmlns:a16="http://schemas.microsoft.com/office/drawing/2014/main" id="{34B619E5-ED87-9AE0-9A3C-0CE07EDF48AA}"/>
                    </a:ext>
                  </a:extLst>
                </p:cNvPr>
                <p:cNvSpPr txBox="1"/>
                <p:nvPr/>
              </p:nvSpPr>
              <p:spPr>
                <a:xfrm rot="2609628">
                  <a:off x="3115065" y="4191120"/>
                  <a:ext cx="820805" cy="1926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Santa Julia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49" name="Elipse 48">
                  <a:extLst>
                    <a:ext uri="{FF2B5EF4-FFF2-40B4-BE49-F238E27FC236}">
                      <a16:creationId xmlns:a16="http://schemas.microsoft.com/office/drawing/2014/main" id="{01C4B728-8479-DD30-64AF-8D3C1F33618E}"/>
                    </a:ext>
                  </a:extLst>
                </p:cNvPr>
                <p:cNvSpPr/>
                <p:nvPr/>
              </p:nvSpPr>
              <p:spPr>
                <a:xfrm>
                  <a:off x="2871015" y="2420182"/>
                  <a:ext cx="85302" cy="8255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50" name="Elipse 49">
                  <a:extLst>
                    <a:ext uri="{FF2B5EF4-FFF2-40B4-BE49-F238E27FC236}">
                      <a16:creationId xmlns:a16="http://schemas.microsoft.com/office/drawing/2014/main" id="{95289DA5-ACB6-AD91-C54E-275D5B5E08AB}"/>
                    </a:ext>
                  </a:extLst>
                </p:cNvPr>
                <p:cNvSpPr/>
                <p:nvPr/>
              </p:nvSpPr>
              <p:spPr>
                <a:xfrm>
                  <a:off x="4483470" y="2617786"/>
                  <a:ext cx="85302" cy="82550"/>
                </a:xfrm>
                <a:prstGeom prst="ellipse">
                  <a:avLst/>
                </a:prstGeom>
                <a:solidFill>
                  <a:schemeClr val="accent2">
                    <a:lumMod val="50000"/>
                    <a:lumOff val="50000"/>
                  </a:schemeClr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51" name="CuadroTexto 50">
                  <a:extLst>
                    <a:ext uri="{FF2B5EF4-FFF2-40B4-BE49-F238E27FC236}">
                      <a16:creationId xmlns:a16="http://schemas.microsoft.com/office/drawing/2014/main" id="{1A925C0E-F0B3-1351-510E-E8B17FBE6FC6}"/>
                    </a:ext>
                  </a:extLst>
                </p:cNvPr>
                <p:cNvSpPr txBox="1"/>
                <p:nvPr/>
              </p:nvSpPr>
              <p:spPr>
                <a:xfrm rot="18641186">
                  <a:off x="4409196" y="2246249"/>
                  <a:ext cx="827712" cy="1926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ES" sz="550" b="1">
                      <a:latin typeface="Century Gothic" panose="020B0502020202020204" pitchFamily="34" charset="0"/>
                    </a:rPr>
                    <a:t>Plaza Egaña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52" name="Elipse 51">
                  <a:extLst>
                    <a:ext uri="{FF2B5EF4-FFF2-40B4-BE49-F238E27FC236}">
                      <a16:creationId xmlns:a16="http://schemas.microsoft.com/office/drawing/2014/main" id="{4C947E8B-17C7-EB32-A515-F7F5183139FC}"/>
                    </a:ext>
                  </a:extLst>
                </p:cNvPr>
                <p:cNvSpPr/>
                <p:nvPr/>
              </p:nvSpPr>
              <p:spPr>
                <a:xfrm>
                  <a:off x="2828364" y="3823891"/>
                  <a:ext cx="85302" cy="82550"/>
                </a:xfrm>
                <a:prstGeom prst="ellipse">
                  <a:avLst/>
                </a:prstGeom>
                <a:solidFill>
                  <a:srgbClr val="FFFF00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53" name="CuadroTexto 52">
                  <a:extLst>
                    <a:ext uri="{FF2B5EF4-FFF2-40B4-BE49-F238E27FC236}">
                      <a16:creationId xmlns:a16="http://schemas.microsoft.com/office/drawing/2014/main" id="{0CCE6806-2A6F-424A-50F8-A3D2C3C170C4}"/>
                    </a:ext>
                  </a:extLst>
                </p:cNvPr>
                <p:cNvSpPr txBox="1"/>
                <p:nvPr/>
              </p:nvSpPr>
              <p:spPr>
                <a:xfrm>
                  <a:off x="1856192" y="3776680"/>
                  <a:ext cx="999331" cy="1769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Departamental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54" name="CuadroTexto 53">
                  <a:extLst>
                    <a:ext uri="{FF2B5EF4-FFF2-40B4-BE49-F238E27FC236}">
                      <a16:creationId xmlns:a16="http://schemas.microsoft.com/office/drawing/2014/main" id="{AACF470A-5277-D2AB-959C-1F2267C3FAA0}"/>
                    </a:ext>
                  </a:extLst>
                </p:cNvPr>
                <p:cNvSpPr txBox="1"/>
                <p:nvPr/>
              </p:nvSpPr>
              <p:spPr>
                <a:xfrm>
                  <a:off x="2211005" y="3046530"/>
                  <a:ext cx="999331" cy="1926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Franklin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</p:grpSp>
          <p:sp>
            <p:nvSpPr>
              <p:cNvPr id="38" name="Elipse 37">
                <a:extLst>
                  <a:ext uri="{FF2B5EF4-FFF2-40B4-BE49-F238E27FC236}">
                    <a16:creationId xmlns:a16="http://schemas.microsoft.com/office/drawing/2014/main" id="{DE7D1BAA-81BB-C402-6009-B667CF48DF4F}"/>
                  </a:ext>
                </a:extLst>
              </p:cNvPr>
              <p:cNvSpPr/>
              <p:nvPr/>
            </p:nvSpPr>
            <p:spPr>
              <a:xfrm>
                <a:off x="1188030" y="2727432"/>
                <a:ext cx="89358" cy="86475"/>
              </a:xfrm>
              <a:prstGeom prst="ellipse">
                <a:avLst/>
              </a:prstGeom>
              <a:solidFill>
                <a:srgbClr val="FF0000"/>
              </a:solidFill>
              <a:ln w="6350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/>
              </a:p>
            </p:txBody>
          </p:sp>
          <p:sp>
            <p:nvSpPr>
              <p:cNvPr id="41" name="CuadroTexto 40">
                <a:extLst>
                  <a:ext uri="{FF2B5EF4-FFF2-40B4-BE49-F238E27FC236}">
                    <a16:creationId xmlns:a16="http://schemas.microsoft.com/office/drawing/2014/main" id="{9C5C339F-2F45-B0C2-A4B8-72D800936891}"/>
                  </a:ext>
                </a:extLst>
              </p:cNvPr>
              <p:cNvSpPr txBox="1"/>
              <p:nvPr/>
            </p:nvSpPr>
            <p:spPr>
              <a:xfrm>
                <a:off x="1210700" y="2671718"/>
                <a:ext cx="1046843" cy="1769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550" b="1">
                    <a:latin typeface="Century Gothic" panose="020B0502020202020204" pitchFamily="34" charset="0"/>
                  </a:rPr>
                  <a:t>Neptuno</a:t>
                </a:r>
                <a:endParaRPr lang="es-CL" sz="550" b="1"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34" name="CuadroTexto 33">
              <a:extLst>
                <a:ext uri="{FF2B5EF4-FFF2-40B4-BE49-F238E27FC236}">
                  <a16:creationId xmlns:a16="http://schemas.microsoft.com/office/drawing/2014/main" id="{21D3BC1B-222B-C473-AB73-DE18748C319C}"/>
                </a:ext>
              </a:extLst>
            </p:cNvPr>
            <p:cNvSpPr txBox="1"/>
            <p:nvPr/>
          </p:nvSpPr>
          <p:spPr>
            <a:xfrm>
              <a:off x="2462374" y="2926695"/>
              <a:ext cx="598343" cy="176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550" b="1">
                  <a:latin typeface="Century Gothic" panose="020B0502020202020204" pitchFamily="34" charset="0"/>
                </a:rPr>
                <a:t>U de Chile</a:t>
              </a:r>
              <a:endParaRPr lang="es-CL" sz="550" b="1">
                <a:latin typeface="Century Gothic" panose="020B0502020202020204" pitchFamily="34" charset="0"/>
              </a:endParaRPr>
            </a:p>
          </p:txBody>
        </p:sp>
        <p:sp>
          <p:nvSpPr>
            <p:cNvPr id="35" name="Elipse 34">
              <a:extLst>
                <a:ext uri="{FF2B5EF4-FFF2-40B4-BE49-F238E27FC236}">
                  <a16:creationId xmlns:a16="http://schemas.microsoft.com/office/drawing/2014/main" id="{B6524E93-625E-8C96-56E7-EEAD933FCFC2}"/>
                </a:ext>
              </a:extLst>
            </p:cNvPr>
            <p:cNvSpPr/>
            <p:nvPr/>
          </p:nvSpPr>
          <p:spPr>
            <a:xfrm>
              <a:off x="2498857" y="3658655"/>
              <a:ext cx="78363" cy="75835"/>
            </a:xfrm>
            <a:prstGeom prst="ellipse">
              <a:avLst/>
            </a:prstGeom>
            <a:solidFill>
              <a:srgbClr val="FFFF00"/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4685618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">
          <a:extLst>
            <a:ext uri="{FF2B5EF4-FFF2-40B4-BE49-F238E27FC236}">
              <a16:creationId xmlns:a16="http://schemas.microsoft.com/office/drawing/2014/main" id="{C05721A6-E3C0-CFE0-CFE0-345D03C629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9">
            <a:extLst>
              <a:ext uri="{FF2B5EF4-FFF2-40B4-BE49-F238E27FC236}">
                <a16:creationId xmlns:a16="http://schemas.microsoft.com/office/drawing/2014/main" id="{8C307FC0-888C-D19D-5955-FDCA827EDF01}"/>
              </a:ext>
            </a:extLst>
          </p:cNvPr>
          <p:cNvSpPr txBox="1"/>
          <p:nvPr/>
        </p:nvSpPr>
        <p:spPr>
          <a:xfrm>
            <a:off x="0" y="6562162"/>
            <a:ext cx="52099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CL" sz="12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18</a:t>
            </a:fld>
            <a:endParaRPr sz="1200" b="0" i="0" u="none" strike="noStrike" cap="none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7" name="Google Shape;106;p3">
            <a:extLst>
              <a:ext uri="{FF2B5EF4-FFF2-40B4-BE49-F238E27FC236}">
                <a16:creationId xmlns:a16="http://schemas.microsoft.com/office/drawing/2014/main" id="{FC2A9AF8-7F5A-674E-6BD8-BD0C77034FD9}"/>
              </a:ext>
            </a:extLst>
          </p:cNvPr>
          <p:cNvSpPr txBox="1"/>
          <p:nvPr/>
        </p:nvSpPr>
        <p:spPr>
          <a:xfrm>
            <a:off x="260498" y="364667"/>
            <a:ext cx="8667900" cy="57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</a:pPr>
            <a:r>
              <a:rPr lang="es-CL" sz="20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Estación Universidad de Chile – Vista General Nivel -1</a:t>
            </a:r>
            <a:endParaRPr lang="es-CL"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" name="Imagen 5" descr="Un grupo de personas en una estación&#10;&#10;Descripción generada automáticamente con confianza media">
            <a:extLst>
              <a:ext uri="{FF2B5EF4-FFF2-40B4-BE49-F238E27FC236}">
                <a16:creationId xmlns:a16="http://schemas.microsoft.com/office/drawing/2014/main" id="{FB1370CC-F206-0A4B-68DF-E5CBD90DD1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0996" y="939167"/>
            <a:ext cx="10985818" cy="5063280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90702D4C-D58B-6BE2-04E2-F58E6AC69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6398" y="-954003"/>
            <a:ext cx="8667974" cy="574619"/>
          </a:xfrm>
        </p:spPr>
        <p:txBody>
          <a:bodyPr/>
          <a:lstStyle/>
          <a:p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984921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">
          <a:extLst>
            <a:ext uri="{FF2B5EF4-FFF2-40B4-BE49-F238E27FC236}">
              <a16:creationId xmlns:a16="http://schemas.microsoft.com/office/drawing/2014/main" id="{9D11F6E6-CADA-2AF2-00B7-158C3D046A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9">
            <a:extLst>
              <a:ext uri="{FF2B5EF4-FFF2-40B4-BE49-F238E27FC236}">
                <a16:creationId xmlns:a16="http://schemas.microsoft.com/office/drawing/2014/main" id="{F4CF6D8D-0B10-3A24-C8DA-8A87DFFAD406}"/>
              </a:ext>
            </a:extLst>
          </p:cNvPr>
          <p:cNvSpPr txBox="1"/>
          <p:nvPr/>
        </p:nvSpPr>
        <p:spPr>
          <a:xfrm>
            <a:off x="0" y="6562162"/>
            <a:ext cx="52099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CL" sz="12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19</a:t>
            </a:fld>
            <a:endParaRPr sz="1200" b="0" i="0" u="none" strike="noStrike" cap="none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3" name="Imagen 2" descr="Personas en una tienda&#10;&#10;Descripción generada automáticamente">
            <a:extLst>
              <a:ext uri="{FF2B5EF4-FFF2-40B4-BE49-F238E27FC236}">
                <a16:creationId xmlns:a16="http://schemas.microsoft.com/office/drawing/2014/main" id="{C34816F0-5678-791D-6C85-65231B2CB9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2347" y="939166"/>
            <a:ext cx="10249123" cy="5425419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CC9DDE45-A186-DA37-D890-359EAE28B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sz="24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Estación Universidad de Chile – Vista General Nivel -2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588157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9FBF130E-5EEE-D2FA-8160-DE60E98F03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5475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Diapositiva de think-cell" r:id="rId4" imgW="404" imgH="405" progId="TCLayout.ActiveDocument.1">
                  <p:embed/>
                </p:oleObj>
              </mc:Choice>
              <mc:Fallback>
                <p:oleObj name="Diapositiva de think-cell" r:id="rId4" imgW="404" imgH="405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BF130E-5EEE-D2FA-8160-DE60E98F03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F0487E21-332B-4E69-8938-CA1F070963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s-ES"/>
              <a:t>Revalorización del interior de las estaciones convencionales </a:t>
            </a:r>
            <a:endParaRPr lang="es-CL"/>
          </a:p>
        </p:txBody>
      </p:sp>
      <p:sp>
        <p:nvSpPr>
          <p:cNvPr id="9" name="Rectángulo: esquinas redondeadas 8">
            <a:extLst>
              <a:ext uri="{FF2B5EF4-FFF2-40B4-BE49-F238E27FC236}">
                <a16:creationId xmlns:a16="http://schemas.microsoft.com/office/drawing/2014/main" id="{C450E7F3-C243-5180-6769-AF20C600757D}"/>
              </a:ext>
            </a:extLst>
          </p:cNvPr>
          <p:cNvSpPr/>
          <p:nvPr/>
        </p:nvSpPr>
        <p:spPr>
          <a:xfrm>
            <a:off x="1986592" y="3900771"/>
            <a:ext cx="3618000" cy="1473838"/>
          </a:xfrm>
          <a:prstGeom prst="roundRect">
            <a:avLst>
              <a:gd name="adj" fmla="val 3444"/>
            </a:avLst>
          </a:prstGeom>
          <a:noFill/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just">
              <a:spcAft>
                <a:spcPts val="600"/>
              </a:spcAft>
              <a:tabLst>
                <a:tab pos="542925" algn="l"/>
              </a:tabLst>
            </a:pPr>
            <a:r>
              <a:rPr lang="es-MX" sz="1200">
                <a:solidFill>
                  <a:srgbClr val="000000"/>
                </a:solidFill>
                <a:latin typeface="Century Gothic" panose="020B0502020202020204" pitchFamily="34" charset="0"/>
              </a:rPr>
              <a:t>El modelo de cómo se abordará cada línea en etapas posteriores del </a:t>
            </a:r>
            <a:r>
              <a:rPr lang="es-MX" sz="1200" b="1">
                <a:solidFill>
                  <a:srgbClr val="000000"/>
                </a:solidFill>
                <a:latin typeface="Century Gothic" panose="020B0502020202020204" pitchFamily="34" charset="0"/>
              </a:rPr>
              <a:t>proyecto hasta el año 2031.</a:t>
            </a:r>
          </a:p>
        </p:txBody>
      </p:sp>
      <p:sp>
        <p:nvSpPr>
          <p:cNvPr id="11" name="Rectángulo: esquinas redondeadas 10">
            <a:extLst>
              <a:ext uri="{FF2B5EF4-FFF2-40B4-BE49-F238E27FC236}">
                <a16:creationId xmlns:a16="http://schemas.microsoft.com/office/drawing/2014/main" id="{A0731DC2-9074-8499-3663-B1E3B67553CF}"/>
              </a:ext>
            </a:extLst>
          </p:cNvPr>
          <p:cNvSpPr/>
          <p:nvPr/>
        </p:nvSpPr>
        <p:spPr>
          <a:xfrm>
            <a:off x="4249505" y="1733698"/>
            <a:ext cx="3619061" cy="1473840"/>
          </a:xfrm>
          <a:prstGeom prst="roundRect">
            <a:avLst>
              <a:gd name="adj" fmla="val 2591"/>
            </a:avLst>
          </a:prstGeom>
          <a:noFill/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600"/>
              </a:spcAft>
              <a:tabLst>
                <a:tab pos="542925" algn="l"/>
              </a:tabLst>
            </a:pPr>
            <a:r>
              <a:rPr lang="es-MX" sz="1200">
                <a:solidFill>
                  <a:srgbClr val="000000"/>
                </a:solidFill>
                <a:latin typeface="Century Gothic" panose="020B0502020202020204" pitchFamily="34" charset="0"/>
              </a:rPr>
              <a:t>Línea cumple 50 años operando, se consideran 2 estaciones</a:t>
            </a:r>
            <a:endParaRPr lang="es-MX" sz="1200" b="1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Rectángulo: esquinas redondeadas 14">
            <a:extLst>
              <a:ext uri="{FF2B5EF4-FFF2-40B4-BE49-F238E27FC236}">
                <a16:creationId xmlns:a16="http://schemas.microsoft.com/office/drawing/2014/main" id="{0CB5D80C-AC72-31C9-9853-473B01787471}"/>
              </a:ext>
            </a:extLst>
          </p:cNvPr>
          <p:cNvSpPr/>
          <p:nvPr/>
        </p:nvSpPr>
        <p:spPr>
          <a:xfrm>
            <a:off x="8109616" y="1713334"/>
            <a:ext cx="3619062" cy="1492049"/>
          </a:xfrm>
          <a:prstGeom prst="roundRect">
            <a:avLst>
              <a:gd name="adj" fmla="val 3870"/>
            </a:avLst>
          </a:prstGeom>
          <a:noFill/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es-MX" sz="1200">
                <a:solidFill>
                  <a:schemeClr val="tx1"/>
                </a:solidFill>
                <a:latin typeface="Century Gothic" panose="020B0502020202020204" pitchFamily="34" charset="0"/>
              </a:rPr>
              <a:t>De modo que sea factible la intervención en el plazo de la etapa 1: </a:t>
            </a:r>
            <a:r>
              <a:rPr lang="es-MX" sz="1200" b="1">
                <a:solidFill>
                  <a:schemeClr val="tx1"/>
                </a:solidFill>
                <a:latin typeface="Century Gothic" panose="020B0502020202020204" pitchFamily="34" charset="0"/>
              </a:rPr>
              <a:t>6-7 meses de ejecución.</a:t>
            </a:r>
          </a:p>
        </p:txBody>
      </p:sp>
      <p:sp>
        <p:nvSpPr>
          <p:cNvPr id="16" name="Rectángulo: esquinas redondeadas 15">
            <a:extLst>
              <a:ext uri="{FF2B5EF4-FFF2-40B4-BE49-F238E27FC236}">
                <a16:creationId xmlns:a16="http://schemas.microsoft.com/office/drawing/2014/main" id="{4C52D12B-F2C9-F7C1-246F-7D8DA995DBC0}"/>
              </a:ext>
            </a:extLst>
          </p:cNvPr>
          <p:cNvSpPr/>
          <p:nvPr/>
        </p:nvSpPr>
        <p:spPr>
          <a:xfrm>
            <a:off x="6059036" y="3888090"/>
            <a:ext cx="3619060" cy="1473838"/>
          </a:xfrm>
          <a:prstGeom prst="roundRect">
            <a:avLst>
              <a:gd name="adj" fmla="val 4724"/>
            </a:avLst>
          </a:prstGeom>
          <a:noFill/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MX" sz="1200">
                <a:solidFill>
                  <a:schemeClr val="tx1"/>
                </a:solidFill>
                <a:latin typeface="Century Gothic" panose="020B0502020202020204" pitchFamily="34" charset="0"/>
              </a:rPr>
              <a:t>Iluminación, diseño interior, máquinas de carga , PBC y eliminación de boleterías isla. </a:t>
            </a:r>
          </a:p>
        </p:txBody>
      </p:sp>
      <p:pic>
        <p:nvPicPr>
          <p:cNvPr id="2052" name="Picture 4" descr="Icono de vector de metro tren ligero ferrocarril coche ...">
            <a:extLst>
              <a:ext uri="{FF2B5EF4-FFF2-40B4-BE49-F238E27FC236}">
                <a16:creationId xmlns:a16="http://schemas.microsoft.com/office/drawing/2014/main" id="{B2FB333C-CE63-E3C8-E0F3-6F5DADBF88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163" b="91837" l="10000" r="90000">
                        <a14:foregroundMark x1="53061" y1="8571" x2="53061" y2="8571"/>
                        <a14:foregroundMark x1="51837" y1="14490" x2="51837" y2="14490"/>
                        <a14:foregroundMark x1="48980" y1="28776" x2="48980" y2="28776"/>
                        <a14:foregroundMark x1="70204" y1="57959" x2="70204" y2="57959"/>
                        <a14:foregroundMark x1="31224" y1="57959" x2="31224" y2="57959"/>
                        <a14:foregroundMark x1="17551" y1="90408" x2="17551" y2="90408"/>
                        <a14:foregroundMark x1="88980" y1="91837" x2="88980" y2="9183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7827" y="2356818"/>
            <a:ext cx="696555" cy="696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Acabado objetivo metas marca objetivos - Iconos Interfaz de usuario y Gestos">
            <a:extLst>
              <a:ext uri="{FF2B5EF4-FFF2-40B4-BE49-F238E27FC236}">
                <a16:creationId xmlns:a16="http://schemas.microsoft.com/office/drawing/2014/main" id="{C606113D-A462-84CD-4327-F37A58B318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9537" y="4569738"/>
            <a:ext cx="667265" cy="667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Icono de fecha, Diseño de icono, Fecha del calendario, Diseño plano, Línea,  Símbolo, Emoticono, Blanco y negro png | Klipartz">
            <a:extLst>
              <a:ext uri="{FF2B5EF4-FFF2-40B4-BE49-F238E27FC236}">
                <a16:creationId xmlns:a16="http://schemas.microsoft.com/office/drawing/2014/main" id="{C325CF1E-B86C-6CDA-EE14-79A5DD18B1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4143" b="94429" l="10000" r="91910">
                        <a14:foregroundMark x1="26404" y1="4571" x2="26404" y2="4571"/>
                        <a14:foregroundMark x1="26854" y1="4429" x2="33483" y2="4143"/>
                        <a14:foregroundMark x1="33483" y1="4143" x2="41685" y2="5286"/>
                        <a14:foregroundMark x1="49101" y1="13143" x2="52135" y2="28857"/>
                        <a14:foregroundMark x1="63820" y1="29143" x2="92022" y2="33143"/>
                        <a14:foregroundMark x1="70337" y1="15286" x2="68090" y2="28286"/>
                        <a14:foregroundMark x1="70337" y1="47429" x2="70337" y2="47429"/>
                        <a14:foregroundMark x1="70899" y1="63000" x2="70899" y2="63000"/>
                        <a14:foregroundMark x1="71011" y1="78571" x2="71011" y2="78571"/>
                        <a14:foregroundMark x1="58652" y1="78571" x2="58652" y2="78571"/>
                        <a14:foregroundMark x1="43933" y1="94429" x2="31461" y2="90857"/>
                        <a14:foregroundMark x1="46517" y1="81429" x2="46517" y2="81429"/>
                        <a14:foregroundMark x1="35393" y1="81000" x2="35393" y2="81000"/>
                        <a14:foregroundMark x1="36517" y1="66429" x2="36517" y2="66429"/>
                        <a14:foregroundMark x1="46742" y1="63429" x2="46742" y2="63429"/>
                        <a14:foregroundMark x1="58202" y1="63286" x2="58202" y2="63286"/>
                        <a14:foregroundMark x1="59663" y1="51714" x2="59663" y2="51714"/>
                        <a14:foregroundMark x1="32809" y1="27714" x2="32809" y2="2771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2897" y="2441246"/>
            <a:ext cx="754020" cy="593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Iluminación - Iconos gratis de electrónica">
            <a:extLst>
              <a:ext uri="{FF2B5EF4-FFF2-40B4-BE49-F238E27FC236}">
                <a16:creationId xmlns:a16="http://schemas.microsoft.com/office/drawing/2014/main" id="{BE6D928D-C776-AC93-0EE0-6ADAF5321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962" y="4463155"/>
            <a:ext cx="652849" cy="652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8BC37508-4DC4-B781-EF10-CB6C9FCDC3B2}"/>
              </a:ext>
            </a:extLst>
          </p:cNvPr>
          <p:cNvSpPr/>
          <p:nvPr/>
        </p:nvSpPr>
        <p:spPr>
          <a:xfrm>
            <a:off x="0" y="0"/>
            <a:ext cx="12192000" cy="8964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0CD04AB7-A4CC-9592-6802-A88DBB7C7AF0}"/>
              </a:ext>
            </a:extLst>
          </p:cNvPr>
          <p:cNvSpPr txBox="1"/>
          <p:nvPr/>
        </p:nvSpPr>
        <p:spPr>
          <a:xfrm>
            <a:off x="194609" y="250189"/>
            <a:ext cx="10504147" cy="4247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defTabSz="914400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s-ES"/>
              <a:t>Etapa 1: Primeras 9 estaciones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57D0D5D2-1D1A-9F7F-3A39-84364B2AE1A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1299479" y="-10578"/>
            <a:ext cx="892521" cy="896471"/>
          </a:xfrm>
          <a:prstGeom prst="rect">
            <a:avLst/>
          </a:prstGeom>
        </p:spPr>
      </p:pic>
      <p:sp>
        <p:nvSpPr>
          <p:cNvPr id="21" name="CuadroTexto 20">
            <a:extLst>
              <a:ext uri="{FF2B5EF4-FFF2-40B4-BE49-F238E27FC236}">
                <a16:creationId xmlns:a16="http://schemas.microsoft.com/office/drawing/2014/main" id="{2869FB2F-3392-0A59-5643-3B2D71E8553C}"/>
              </a:ext>
            </a:extLst>
          </p:cNvPr>
          <p:cNvSpPr txBox="1"/>
          <p:nvPr/>
        </p:nvSpPr>
        <p:spPr>
          <a:xfrm>
            <a:off x="4170397" y="1189999"/>
            <a:ext cx="3618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b="1">
                <a:solidFill>
                  <a:srgbClr val="9A3488"/>
                </a:solidFill>
                <a:latin typeface="Century Gothic" panose="020B0502020202020204" pitchFamily="34" charset="0"/>
              </a:rPr>
              <a:t>Estaciones 50 años en operación</a:t>
            </a:r>
            <a:endParaRPr lang="es-CL">
              <a:solidFill>
                <a:srgbClr val="9A3488"/>
              </a:solidFill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22BB633F-125A-F123-ADAD-22BB3BA54034}"/>
              </a:ext>
            </a:extLst>
          </p:cNvPr>
          <p:cNvSpPr txBox="1"/>
          <p:nvPr/>
        </p:nvSpPr>
        <p:spPr>
          <a:xfrm>
            <a:off x="8109616" y="1221547"/>
            <a:ext cx="3618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b="1">
                <a:solidFill>
                  <a:srgbClr val="9A3488"/>
                </a:solidFill>
                <a:latin typeface="Century Gothic" panose="020B0502020202020204" pitchFamily="34" charset="0"/>
              </a:rPr>
              <a:t>9 estaciones</a:t>
            </a:r>
            <a:endParaRPr lang="es-CL">
              <a:solidFill>
                <a:srgbClr val="9A3488"/>
              </a:solidFill>
            </a:endParaRP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A46F3F4B-1794-8A74-0246-0CC9BA4B162E}"/>
              </a:ext>
            </a:extLst>
          </p:cNvPr>
          <p:cNvSpPr txBox="1"/>
          <p:nvPr/>
        </p:nvSpPr>
        <p:spPr>
          <a:xfrm>
            <a:off x="1913393" y="3279588"/>
            <a:ext cx="36180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1400" b="1">
                <a:solidFill>
                  <a:srgbClr val="9A3488"/>
                </a:solidFill>
                <a:latin typeface="Century Gothic" panose="020B0502020202020204" pitchFamily="34" charset="0"/>
              </a:rPr>
              <a:t>Las estaciones de paso intervenidas en etapa 1 serán el modelo </a:t>
            </a:r>
            <a:endParaRPr lang="es-CL">
              <a:solidFill>
                <a:srgbClr val="9A3488"/>
              </a:solidFill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BE151655-8A2D-86FF-B818-7050860F24B0}"/>
              </a:ext>
            </a:extLst>
          </p:cNvPr>
          <p:cNvSpPr txBox="1"/>
          <p:nvPr/>
        </p:nvSpPr>
        <p:spPr>
          <a:xfrm>
            <a:off x="5979397" y="3462850"/>
            <a:ext cx="3618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1400" b="1">
                <a:solidFill>
                  <a:srgbClr val="9A3488"/>
                </a:solidFill>
                <a:latin typeface="Century Gothic" panose="020B0502020202020204" pitchFamily="34" charset="0"/>
              </a:rPr>
              <a:t>Modernización Estaciones</a:t>
            </a:r>
            <a:endParaRPr lang="es-CL">
              <a:solidFill>
                <a:srgbClr val="9A3488"/>
              </a:solidFill>
            </a:endParaRPr>
          </a:p>
        </p:txBody>
      </p:sp>
      <p:sp>
        <p:nvSpPr>
          <p:cNvPr id="3" name="Rectángulo: esquinas redondeadas 2">
            <a:extLst>
              <a:ext uri="{FF2B5EF4-FFF2-40B4-BE49-F238E27FC236}">
                <a16:creationId xmlns:a16="http://schemas.microsoft.com/office/drawing/2014/main" id="{7020890B-CFD5-16DB-ADB4-7CC894F62B5D}"/>
              </a:ext>
            </a:extLst>
          </p:cNvPr>
          <p:cNvSpPr/>
          <p:nvPr/>
        </p:nvSpPr>
        <p:spPr>
          <a:xfrm>
            <a:off x="461531" y="1733698"/>
            <a:ext cx="3619061" cy="1473840"/>
          </a:xfrm>
          <a:prstGeom prst="roundRect">
            <a:avLst>
              <a:gd name="adj" fmla="val 2591"/>
            </a:avLst>
          </a:prstGeom>
          <a:noFill/>
          <a:ln w="190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600"/>
              </a:spcAft>
              <a:tabLst>
                <a:tab pos="542925" algn="l"/>
              </a:tabLst>
            </a:pPr>
            <a:r>
              <a:rPr lang="es-ES" sz="1200">
                <a:solidFill>
                  <a:srgbClr val="000000"/>
                </a:solidFill>
                <a:latin typeface="Century Gothic" panose="020B0502020202020204" pitchFamily="34" charset="0"/>
              </a:rPr>
              <a:t>Revalorizar estaciones de la red convencional por el aniversario de los 50 años de operación de Metro</a:t>
            </a:r>
            <a:endParaRPr lang="es-MX" sz="120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4" name="Picture 4" descr="Icono de vector de metro tren ligero ferrocarril coche ...">
            <a:extLst>
              <a:ext uri="{FF2B5EF4-FFF2-40B4-BE49-F238E27FC236}">
                <a16:creationId xmlns:a16="http://schemas.microsoft.com/office/drawing/2014/main" id="{950F509B-534F-71ED-0EC5-E062BC9E3B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163" b="91837" l="10000" r="90000">
                        <a14:foregroundMark x1="53061" y1="8571" x2="53061" y2="8571"/>
                        <a14:foregroundMark x1="51837" y1="14490" x2="51837" y2="14490"/>
                        <a14:foregroundMark x1="48980" y1="28776" x2="48980" y2="28776"/>
                        <a14:foregroundMark x1="70204" y1="57959" x2="70204" y2="57959"/>
                        <a14:foregroundMark x1="31224" y1="57959" x2="31224" y2="57959"/>
                        <a14:foregroundMark x1="17551" y1="90408" x2="17551" y2="90408"/>
                        <a14:foregroundMark x1="88980" y1="91837" x2="88980" y2="9183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9853" y="2356818"/>
            <a:ext cx="696555" cy="696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9C14A17C-5E07-B94F-9A34-7F379BE7797B}"/>
              </a:ext>
            </a:extLst>
          </p:cNvPr>
          <p:cNvSpPr txBox="1"/>
          <p:nvPr/>
        </p:nvSpPr>
        <p:spPr>
          <a:xfrm>
            <a:off x="329662" y="1281927"/>
            <a:ext cx="3618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1400" b="1">
                <a:solidFill>
                  <a:srgbClr val="9A3488"/>
                </a:solidFill>
                <a:latin typeface="Century Gothic" panose="020B0502020202020204" pitchFamily="34" charset="0"/>
              </a:rPr>
              <a:t>Generar impacto con la intervención</a:t>
            </a:r>
            <a:endParaRPr lang="es-CL">
              <a:solidFill>
                <a:srgbClr val="9A348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568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6">
          <a:extLst>
            <a:ext uri="{FF2B5EF4-FFF2-40B4-BE49-F238E27FC236}">
              <a16:creationId xmlns:a16="http://schemas.microsoft.com/office/drawing/2014/main" id="{13F54AA3-6BAC-2211-265C-FA61B415BE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9">
            <a:extLst>
              <a:ext uri="{FF2B5EF4-FFF2-40B4-BE49-F238E27FC236}">
                <a16:creationId xmlns:a16="http://schemas.microsoft.com/office/drawing/2014/main" id="{D1A6B91D-8F58-D6DB-86D2-F2B6E0025848}"/>
              </a:ext>
            </a:extLst>
          </p:cNvPr>
          <p:cNvSpPr txBox="1"/>
          <p:nvPr/>
        </p:nvSpPr>
        <p:spPr>
          <a:xfrm>
            <a:off x="0" y="6562162"/>
            <a:ext cx="52099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CL" sz="1200" b="0" i="0" u="none" strike="noStrike" cap="none">
                <a:solidFill>
                  <a:srgbClr val="000000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20</a:t>
            </a:fld>
            <a:endParaRPr sz="1200" b="0" i="0" u="none" strike="noStrike" cap="none">
              <a:solidFill>
                <a:srgbClr val="000000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4" name="Imagen 3" descr="Edificio cubierto de nieve&#10;&#10;Descripción generada automáticamente con confianza baja">
            <a:extLst>
              <a:ext uri="{FF2B5EF4-FFF2-40B4-BE49-F238E27FC236}">
                <a16:creationId xmlns:a16="http://schemas.microsoft.com/office/drawing/2014/main" id="{62FDC2EC-E4DB-3BFA-2D91-0C40B5DD6D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204" y="1049068"/>
            <a:ext cx="5786253" cy="4339690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pic>
        <p:nvPicPr>
          <p:cNvPr id="11" name="Imagen 10" descr="Diagrama&#10;&#10;Descripción generada automáticamente">
            <a:extLst>
              <a:ext uri="{FF2B5EF4-FFF2-40B4-BE49-F238E27FC236}">
                <a16:creationId xmlns:a16="http://schemas.microsoft.com/office/drawing/2014/main" id="{C81BFADB-2CB8-9BE4-3037-2BDF7A36E0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3512" y="1049068"/>
            <a:ext cx="5786253" cy="4339690"/>
          </a:xfrm>
          <a:prstGeom prst="rect">
            <a:avLst/>
          </a:prstGeom>
          <a:ln w="6350">
            <a:solidFill>
              <a:schemeClr val="tx1"/>
            </a:solidFill>
          </a:ln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2641AB72-B4C4-24CD-7925-8ADCE6410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sz="2400" b="1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rPr>
              <a:t>Estación Universidad de Chile – Imágenes Objetivo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525257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1566D02-B0CA-0BEB-6CA1-6EA505A1C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/>
              <a:t>Imágenes objetivo </a:t>
            </a:r>
            <a:br>
              <a:rPr lang="es-MX"/>
            </a:br>
            <a:r>
              <a:rPr lang="es-MX" sz="2000" b="0"/>
              <a:t>Estación Universidad de Chile </a:t>
            </a:r>
            <a:endParaRPr lang="es-CL" b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5BB87AF0-AFDA-4A61-BF1C-BD083D2BDC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1902" y="199165"/>
            <a:ext cx="7200900" cy="3082632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0378527F-C2DF-6244-DDEC-201F9FFE65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798" y="3429000"/>
            <a:ext cx="6667500" cy="3095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2272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96041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F1403D4-0416-8DD9-B8ED-00A3158A01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85C4525C-019D-21B4-6AED-BA69C471BD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250" y="90487"/>
            <a:ext cx="12001500" cy="6677025"/>
          </a:xfrm>
          <a:prstGeom prst="rect">
            <a:avLst/>
          </a:prstGeom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61F43B98-1CF4-80EA-3F68-EC8E576BAA86}"/>
              </a:ext>
            </a:extLst>
          </p:cNvPr>
          <p:cNvSpPr/>
          <p:nvPr/>
        </p:nvSpPr>
        <p:spPr>
          <a:xfrm>
            <a:off x="107950" y="3757333"/>
            <a:ext cx="6318250" cy="692652"/>
          </a:xfrm>
          <a:prstGeom prst="rect">
            <a:avLst/>
          </a:prstGeom>
          <a:solidFill>
            <a:srgbClr val="7030A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613787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56234E76-C97A-D484-D83A-43DD564290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6478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Diapositiva de think-cell" r:id="rId18" imgW="404" imgH="405" progId="TCLayout.ActiveDocument.1">
                  <p:embed/>
                </p:oleObj>
              </mc:Choice>
              <mc:Fallback>
                <p:oleObj name="Diapositiva de think-cell" r:id="rId18" imgW="404" imgH="405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234E76-C97A-D484-D83A-43DD564290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ángulo 10">
            <a:extLst>
              <a:ext uri="{FF2B5EF4-FFF2-40B4-BE49-F238E27FC236}">
                <a16:creationId xmlns:a16="http://schemas.microsoft.com/office/drawing/2014/main" id="{664A1E3F-758D-9FDB-018A-D4A286B4950B}"/>
              </a:ext>
            </a:extLst>
          </p:cNvPr>
          <p:cNvSpPr/>
          <p:nvPr/>
        </p:nvSpPr>
        <p:spPr>
          <a:xfrm>
            <a:off x="2097874" y="1741120"/>
            <a:ext cx="7325095" cy="31057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7" tIns="45719" rIns="91427" bIns="4571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3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" panose="02000804030000020004" pitchFamily="50" charset="0"/>
                <a:ea typeface="+mn-ea"/>
                <a:cs typeface="+mn-cs"/>
              </a:rPr>
              <a:t>ESTRATEGIA PROYECTO</a:t>
            </a:r>
            <a:endParaRPr kumimoji="0" lang="es-CL" sz="13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otham" panose="02000804030000020004" pitchFamily="50" charset="0"/>
              <a:ea typeface="+mn-ea"/>
              <a:cs typeface="+mn-cs"/>
            </a:endParaRPr>
          </a:p>
        </p:txBody>
      </p:sp>
      <p:pic>
        <p:nvPicPr>
          <p:cNvPr id="36" name="Picture 2" descr="Image result for calendar png icon">
            <a:extLst>
              <a:ext uri="{FF2B5EF4-FFF2-40B4-BE49-F238E27FC236}">
                <a16:creationId xmlns:a16="http://schemas.microsoft.com/office/drawing/2014/main" id="{02DF43B5-4D8C-3933-D001-D0D0F66CD0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39146" y="2233709"/>
            <a:ext cx="514206" cy="541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133 CuadroTexto">
            <a:extLst>
              <a:ext uri="{FF2B5EF4-FFF2-40B4-BE49-F238E27FC236}">
                <a16:creationId xmlns:a16="http://schemas.microsoft.com/office/drawing/2014/main" id="{F59EE0A1-2AEE-B114-05D3-8FE744F49F2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219467" y="2962345"/>
            <a:ext cx="2005934" cy="584773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200" i="0" u="none" strike="noStrike" kern="1200" cap="none" spc="0" normalizeH="0" baseline="0" noProof="0">
                <a:ln>
                  <a:noFill/>
                </a:ln>
                <a:solidFill>
                  <a:srgbClr val="9A3488"/>
                </a:solidFill>
                <a:effectLst/>
                <a:uLnTx/>
                <a:uFillTx/>
                <a:latin typeface="Gotham" panose="02000804030000020004" pitchFamily="50" charset="0"/>
                <a:ea typeface="+mn-ea"/>
                <a:cs typeface="+mn-cs"/>
              </a:rPr>
              <a:t>SEPT 2025</a:t>
            </a:r>
          </a:p>
        </p:txBody>
      </p:sp>
      <p:sp>
        <p:nvSpPr>
          <p:cNvPr id="38" name="133 CuadroTexto">
            <a:extLst>
              <a:ext uri="{FF2B5EF4-FFF2-40B4-BE49-F238E27FC236}">
                <a16:creationId xmlns:a16="http://schemas.microsoft.com/office/drawing/2014/main" id="{AF8A0FE0-D595-A61B-C159-DC1AC4E371D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029009" y="2227233"/>
            <a:ext cx="1506024" cy="615551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" panose="02000804030000020004" pitchFamily="50" charset="0"/>
                <a:ea typeface="+mn-ea"/>
                <a:cs typeface="+mn-cs"/>
              </a:rPr>
              <a:t>ETAPA 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400">
                <a:solidFill>
                  <a:srgbClr val="000000"/>
                </a:solidFill>
                <a:latin typeface="Century Gothic" panose="020B0502020202020204" pitchFamily="34" charset="0"/>
              </a:rPr>
              <a:t>9</a:t>
            </a:r>
            <a:r>
              <a:rPr kumimoji="0" lang="es-CL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estaciones</a:t>
            </a:r>
          </a:p>
        </p:txBody>
      </p:sp>
      <p:pic>
        <p:nvPicPr>
          <p:cNvPr id="41" name="Picture 2" descr="Image result for calendar png icon">
            <a:extLst>
              <a:ext uri="{FF2B5EF4-FFF2-40B4-BE49-F238E27FC236}">
                <a16:creationId xmlns:a16="http://schemas.microsoft.com/office/drawing/2014/main" id="{F2D75602-5F4D-C70B-5901-BBF13DA401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15134" y="2270935"/>
            <a:ext cx="379638" cy="400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133 CuadroTexto">
            <a:extLst>
              <a:ext uri="{FF2B5EF4-FFF2-40B4-BE49-F238E27FC236}">
                <a16:creationId xmlns:a16="http://schemas.microsoft.com/office/drawing/2014/main" id="{9F73AD73-81CC-2CC0-882E-5CCCD6A14B73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186554" y="2296268"/>
            <a:ext cx="1163929" cy="338552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600" b="1">
                <a:solidFill>
                  <a:srgbClr val="000000"/>
                </a:solidFill>
                <a:latin typeface="Gotham" panose="02000804030000020004" pitchFamily="50" charset="0"/>
              </a:rPr>
              <a:t>Nov</a:t>
            </a:r>
            <a:r>
              <a:rPr kumimoji="0" lang="es-CL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" panose="02000804030000020004" pitchFamily="50" charset="0"/>
                <a:ea typeface="+mn-ea"/>
                <a:cs typeface="+mn-cs"/>
              </a:rPr>
              <a:t>. 2027</a:t>
            </a:r>
          </a:p>
        </p:txBody>
      </p:sp>
      <p:sp>
        <p:nvSpPr>
          <p:cNvPr id="45" name="133 CuadroTexto">
            <a:extLst>
              <a:ext uri="{FF2B5EF4-FFF2-40B4-BE49-F238E27FC236}">
                <a16:creationId xmlns:a16="http://schemas.microsoft.com/office/drawing/2014/main" id="{7C15CC7E-812D-C7CD-5D7C-A8A4B2688F61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277275" y="2258231"/>
            <a:ext cx="1506024" cy="538607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otham" panose="02000804030000020004" pitchFamily="50" charset="0"/>
                <a:ea typeface="+mn-ea"/>
                <a:cs typeface="+mn-cs"/>
              </a:rPr>
              <a:t>ETAPA 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0 estaciones</a:t>
            </a:r>
          </a:p>
        </p:txBody>
      </p:sp>
      <p:pic>
        <p:nvPicPr>
          <p:cNvPr id="60" name="Picture 2" descr="Image result for calendar png icon">
            <a:extLst>
              <a:ext uri="{FF2B5EF4-FFF2-40B4-BE49-F238E27FC236}">
                <a16:creationId xmlns:a16="http://schemas.microsoft.com/office/drawing/2014/main" id="{EE380C80-1038-CE4A-4D07-8D9DC4FA35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15134" y="2773792"/>
            <a:ext cx="379638" cy="400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133 CuadroTexto">
            <a:extLst>
              <a:ext uri="{FF2B5EF4-FFF2-40B4-BE49-F238E27FC236}">
                <a16:creationId xmlns:a16="http://schemas.microsoft.com/office/drawing/2014/main" id="{2B95DA41-80C3-F209-40A5-5451A016B90D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186554" y="2799125"/>
            <a:ext cx="1163929" cy="338552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" panose="02000804030000020004" pitchFamily="50" charset="0"/>
                <a:ea typeface="+mn-ea"/>
                <a:cs typeface="+mn-cs"/>
              </a:rPr>
              <a:t>May. 2028</a:t>
            </a:r>
          </a:p>
        </p:txBody>
      </p:sp>
      <p:sp>
        <p:nvSpPr>
          <p:cNvPr id="62" name="133 CuadroTexto">
            <a:extLst>
              <a:ext uri="{FF2B5EF4-FFF2-40B4-BE49-F238E27FC236}">
                <a16:creationId xmlns:a16="http://schemas.microsoft.com/office/drawing/2014/main" id="{851951A2-2EA5-9656-72D8-6C89C3744A9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277275" y="2761088"/>
            <a:ext cx="1506024" cy="538607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otham" panose="02000804030000020004" pitchFamily="50" charset="0"/>
                <a:ea typeface="+mn-ea"/>
                <a:cs typeface="+mn-cs"/>
              </a:rPr>
              <a:t>ETAPA 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0 estaciones</a:t>
            </a:r>
          </a:p>
        </p:txBody>
      </p:sp>
      <p:pic>
        <p:nvPicPr>
          <p:cNvPr id="63" name="Picture 2" descr="Image result for calendar png icon">
            <a:extLst>
              <a:ext uri="{FF2B5EF4-FFF2-40B4-BE49-F238E27FC236}">
                <a16:creationId xmlns:a16="http://schemas.microsoft.com/office/drawing/2014/main" id="{72A0EC9E-310D-A782-C081-2EDA8B9D4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15134" y="3320960"/>
            <a:ext cx="379638" cy="400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133 CuadroTexto">
            <a:extLst>
              <a:ext uri="{FF2B5EF4-FFF2-40B4-BE49-F238E27FC236}">
                <a16:creationId xmlns:a16="http://schemas.microsoft.com/office/drawing/2014/main" id="{36C530DA-F739-01AE-958D-4DB560415758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186554" y="3346293"/>
            <a:ext cx="1163929" cy="338552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" panose="02000804030000020004" pitchFamily="50" charset="0"/>
                <a:ea typeface="+mn-ea"/>
                <a:cs typeface="+mn-cs"/>
              </a:rPr>
              <a:t>Mar. 2029</a:t>
            </a:r>
          </a:p>
        </p:txBody>
      </p:sp>
      <p:sp>
        <p:nvSpPr>
          <p:cNvPr id="65" name="133 CuadroTexto">
            <a:extLst>
              <a:ext uri="{FF2B5EF4-FFF2-40B4-BE49-F238E27FC236}">
                <a16:creationId xmlns:a16="http://schemas.microsoft.com/office/drawing/2014/main" id="{19C8957F-786C-136A-2146-BC2F1ABEA2F6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277275" y="3308256"/>
            <a:ext cx="1506024" cy="538607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otham" panose="02000804030000020004" pitchFamily="50" charset="0"/>
                <a:ea typeface="+mn-ea"/>
                <a:cs typeface="+mn-cs"/>
              </a:rPr>
              <a:t>ETAPA 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0 estaciones</a:t>
            </a:r>
          </a:p>
        </p:txBody>
      </p:sp>
      <p:pic>
        <p:nvPicPr>
          <p:cNvPr id="68" name="Picture 2" descr="Image result for calendar png icon">
            <a:extLst>
              <a:ext uri="{FF2B5EF4-FFF2-40B4-BE49-F238E27FC236}">
                <a16:creationId xmlns:a16="http://schemas.microsoft.com/office/drawing/2014/main" id="{BD29DB88-3554-F6BB-48CA-479249D9C9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15134" y="3853793"/>
            <a:ext cx="379638" cy="400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133 CuadroTexto">
            <a:extLst>
              <a:ext uri="{FF2B5EF4-FFF2-40B4-BE49-F238E27FC236}">
                <a16:creationId xmlns:a16="http://schemas.microsoft.com/office/drawing/2014/main" id="{51744DF7-769C-599D-46B5-0163E7B6D54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6186554" y="3916023"/>
            <a:ext cx="1163929" cy="338552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" panose="02000804030000020004" pitchFamily="50" charset="0"/>
                <a:ea typeface="+mn-ea"/>
                <a:cs typeface="+mn-cs"/>
              </a:rPr>
              <a:t>Mar.2030</a:t>
            </a:r>
          </a:p>
        </p:txBody>
      </p:sp>
      <p:sp>
        <p:nvSpPr>
          <p:cNvPr id="70" name="133 CuadroTexto">
            <a:extLst>
              <a:ext uri="{FF2B5EF4-FFF2-40B4-BE49-F238E27FC236}">
                <a16:creationId xmlns:a16="http://schemas.microsoft.com/office/drawing/2014/main" id="{913E7031-5703-4405-4921-AF4CDA8CAF40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277275" y="3841089"/>
            <a:ext cx="1506024" cy="538607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otham" panose="02000804030000020004" pitchFamily="50" charset="0"/>
                <a:ea typeface="+mn-ea"/>
                <a:cs typeface="+mn-cs"/>
              </a:rPr>
              <a:t>ETAPA 5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0 estaciones</a:t>
            </a:r>
          </a:p>
        </p:txBody>
      </p:sp>
      <p:pic>
        <p:nvPicPr>
          <p:cNvPr id="71" name="Picture 2" descr="Image result for calendar png icon">
            <a:extLst>
              <a:ext uri="{FF2B5EF4-FFF2-40B4-BE49-F238E27FC236}">
                <a16:creationId xmlns:a16="http://schemas.microsoft.com/office/drawing/2014/main" id="{94867BC5-A19F-2B36-649E-AFA34A9AF5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99961" y="4436636"/>
            <a:ext cx="379638" cy="400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133 CuadroTexto">
            <a:extLst>
              <a:ext uri="{FF2B5EF4-FFF2-40B4-BE49-F238E27FC236}">
                <a16:creationId xmlns:a16="http://schemas.microsoft.com/office/drawing/2014/main" id="{AB36A4D7-38CD-D511-DD01-0F298A067C77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6171381" y="4461969"/>
            <a:ext cx="1163929" cy="338552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otham" panose="02000804030000020004" pitchFamily="50" charset="0"/>
                <a:ea typeface="+mn-ea"/>
                <a:cs typeface="+mn-cs"/>
              </a:rPr>
              <a:t>Feb. 2031</a:t>
            </a:r>
          </a:p>
        </p:txBody>
      </p:sp>
      <p:sp>
        <p:nvSpPr>
          <p:cNvPr id="75" name="133 CuadroTexto">
            <a:extLst>
              <a:ext uri="{FF2B5EF4-FFF2-40B4-BE49-F238E27FC236}">
                <a16:creationId xmlns:a16="http://schemas.microsoft.com/office/drawing/2014/main" id="{3622E57F-69B1-8A30-D474-FAFE554BCAD4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4262102" y="4423932"/>
            <a:ext cx="1506024" cy="538607"/>
          </a:xfrm>
          <a:prstGeom prst="rect">
            <a:avLst/>
          </a:prstGeom>
          <a:noFill/>
        </p:spPr>
        <p:txBody>
          <a:bodyPr wrap="square" lIns="91427" tIns="45719" rIns="91427" bIns="45719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Gotham" panose="02000804030000020004" pitchFamily="50" charset="0"/>
                <a:ea typeface="+mn-ea"/>
                <a:cs typeface="+mn-cs"/>
              </a:rPr>
              <a:t>ETAPA 6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1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0 estaciones</a:t>
            </a:r>
          </a:p>
        </p:txBody>
      </p:sp>
      <p:grpSp>
        <p:nvGrpSpPr>
          <p:cNvPr id="89" name="Grupo 88">
            <a:extLst>
              <a:ext uri="{FF2B5EF4-FFF2-40B4-BE49-F238E27FC236}">
                <a16:creationId xmlns:a16="http://schemas.microsoft.com/office/drawing/2014/main" id="{CFDF7565-D063-A0AB-F57D-5DB43E842BE5}"/>
              </a:ext>
            </a:extLst>
          </p:cNvPr>
          <p:cNvGrpSpPr/>
          <p:nvPr/>
        </p:nvGrpSpPr>
        <p:grpSpPr>
          <a:xfrm>
            <a:off x="2169684" y="3916226"/>
            <a:ext cx="2066051" cy="1323439"/>
            <a:chOff x="6503602" y="4837726"/>
            <a:chExt cx="2066051" cy="1323439"/>
          </a:xfrm>
        </p:grpSpPr>
        <p:sp>
          <p:nvSpPr>
            <p:cNvPr id="35" name="Rectángulo 34">
              <a:extLst>
                <a:ext uri="{FF2B5EF4-FFF2-40B4-BE49-F238E27FC236}">
                  <a16:creationId xmlns:a16="http://schemas.microsoft.com/office/drawing/2014/main" id="{395001A7-25BE-835D-B298-72BE70847494}"/>
                </a:ext>
              </a:extLst>
            </p:cNvPr>
            <p:cNvSpPr/>
            <p:nvPr/>
          </p:nvSpPr>
          <p:spPr>
            <a:xfrm>
              <a:off x="6677341" y="4837726"/>
              <a:ext cx="1753748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39750" algn="l"/>
                </a:tabLst>
                <a:defRPr/>
              </a:pPr>
              <a:r>
                <a:rPr kumimoji="0" lang="es-ES" sz="1600" b="1" i="0" u="none" strike="noStrike" kern="1200" cap="none" spc="0" normalizeH="0" baseline="0" noProof="0">
                  <a:ln>
                    <a:noFill/>
                  </a:ln>
                  <a:solidFill>
                    <a:srgbClr val="58585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1</a:t>
              </a: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58585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	2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58585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estacion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39750" algn="l"/>
                </a:tabLst>
                <a:defRPr/>
              </a:pPr>
              <a:r>
                <a:rPr kumimoji="0" lang="es-ES" sz="1600" b="1" i="0" u="none" strike="noStrike" kern="1200" cap="none" spc="0" normalizeH="0" baseline="0" noProof="0">
                  <a:ln>
                    <a:noFill/>
                  </a:ln>
                  <a:solidFill>
                    <a:srgbClr val="58585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2</a:t>
              </a: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58585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	1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58585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estaciones</a:t>
              </a:r>
              <a:endParaRPr kumimoji="0" lang="es-ES" sz="1400" b="0" i="0" u="none" strike="noStrike" kern="1200" cap="none" spc="0" normalizeH="0" baseline="0" noProof="0">
                <a:ln>
                  <a:noFill/>
                </a:ln>
                <a:solidFill>
                  <a:srgbClr val="58585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39750" algn="l"/>
                </a:tabLst>
                <a:defRPr/>
              </a:pPr>
              <a:r>
                <a:rPr kumimoji="0" lang="es-ES" sz="1600" b="1" i="0" u="none" strike="noStrike" kern="1200" cap="none" spc="0" normalizeH="0" baseline="0" noProof="0">
                  <a:ln>
                    <a:noFill/>
                  </a:ln>
                  <a:solidFill>
                    <a:srgbClr val="58585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4</a:t>
              </a: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58585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	1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58585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estacion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39750" algn="l"/>
                </a:tabLst>
                <a:defRPr/>
              </a:pPr>
              <a:r>
                <a:rPr kumimoji="0" lang="es-ES" sz="1600" b="1" i="0" u="none" strike="noStrike" kern="1200" cap="none" spc="0" normalizeH="0" baseline="0" noProof="0">
                  <a:ln>
                    <a:noFill/>
                  </a:ln>
                  <a:solidFill>
                    <a:srgbClr val="58585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4A</a:t>
              </a: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58585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  	3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58585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estacion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539750" algn="l"/>
                </a:tabLst>
                <a:defRPr/>
              </a:pPr>
              <a:r>
                <a:rPr kumimoji="0" lang="es-ES" sz="1600" b="1" i="0" u="none" strike="noStrike" kern="1200" cap="none" spc="0" normalizeH="0" baseline="0" noProof="0">
                  <a:ln>
                    <a:noFill/>
                  </a:ln>
                  <a:solidFill>
                    <a:srgbClr val="58585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5</a:t>
              </a:r>
              <a:r>
                <a:rPr kumimoji="0" lang="es-ES" sz="1400" b="0" i="0" u="none" strike="noStrike" kern="1200" cap="none" spc="0" normalizeH="0" baseline="0" noProof="0">
                  <a:ln>
                    <a:noFill/>
                  </a:ln>
                  <a:solidFill>
                    <a:srgbClr val="58585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	1 </a:t>
              </a:r>
              <a:r>
                <a:rPr kumimoji="0" lang="es-ES" sz="1200" b="0" i="0" u="none" strike="noStrike" kern="1200" cap="none" spc="0" normalizeH="0" baseline="0" noProof="0">
                  <a:ln>
                    <a:noFill/>
                  </a:ln>
                  <a:solidFill>
                    <a:srgbClr val="585858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estaciones</a:t>
              </a:r>
            </a:p>
          </p:txBody>
        </p:sp>
        <p:sp>
          <p:nvSpPr>
            <p:cNvPr id="76" name="Rectángulo: esquinas redondeadas 75">
              <a:extLst>
                <a:ext uri="{FF2B5EF4-FFF2-40B4-BE49-F238E27FC236}">
                  <a16:creationId xmlns:a16="http://schemas.microsoft.com/office/drawing/2014/main" id="{00D3E59C-B3EE-0FEF-984B-687E88182ADD}"/>
                </a:ext>
              </a:extLst>
            </p:cNvPr>
            <p:cNvSpPr/>
            <p:nvPr/>
          </p:nvSpPr>
          <p:spPr>
            <a:xfrm>
              <a:off x="6503602" y="4859284"/>
              <a:ext cx="2066051" cy="1280211"/>
            </a:xfrm>
            <a:prstGeom prst="roundRect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L" sz="1800" b="0" i="0" u="none" strike="noStrike" kern="1200" cap="none" spc="0" normalizeH="0" baseline="0" noProof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3" name="Elipse 52">
            <a:extLst>
              <a:ext uri="{FF2B5EF4-FFF2-40B4-BE49-F238E27FC236}">
                <a16:creationId xmlns:a16="http://schemas.microsoft.com/office/drawing/2014/main" id="{F48C4237-D6C5-B583-9399-DD5E9D0EAFC5}"/>
              </a:ext>
            </a:extLst>
          </p:cNvPr>
          <p:cNvSpPr/>
          <p:nvPr/>
        </p:nvSpPr>
        <p:spPr>
          <a:xfrm>
            <a:off x="7252726" y="3203212"/>
            <a:ext cx="612000" cy="612000"/>
          </a:xfrm>
          <a:prstGeom prst="ellipse">
            <a:avLst/>
          </a:prstGeom>
          <a:solidFill>
            <a:srgbClr val="9A3488"/>
          </a:solidFill>
          <a:ln>
            <a:solidFill>
              <a:srgbClr val="9A348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54" name="133 CuadroTexto">
            <a:extLst>
              <a:ext uri="{FF2B5EF4-FFF2-40B4-BE49-F238E27FC236}">
                <a16:creationId xmlns:a16="http://schemas.microsoft.com/office/drawing/2014/main" id="{68F4D993-49F0-375A-274E-DDA6789A5076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178551" y="3331988"/>
            <a:ext cx="768975" cy="338552"/>
          </a:xfrm>
          <a:prstGeom prst="rect">
            <a:avLst/>
          </a:prstGeom>
          <a:noFill/>
        </p:spPr>
        <p:txBody>
          <a:bodyPr wrap="square" lIns="91427" tIns="45719" rIns="91427" bIns="45719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+</a:t>
            </a:r>
            <a:r>
              <a:rPr lang="es-CL" sz="1600" b="1">
                <a:solidFill>
                  <a:srgbClr val="FFFFFF"/>
                </a:solidFill>
                <a:latin typeface="Century Gothic" panose="020F0302020204030204"/>
              </a:rPr>
              <a:t>80</a:t>
            </a:r>
            <a:r>
              <a:rPr kumimoji="0" lang="es-CL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%</a:t>
            </a:r>
          </a:p>
        </p:txBody>
      </p:sp>
      <p:sp>
        <p:nvSpPr>
          <p:cNvPr id="81" name="CuadroTexto 80">
            <a:extLst>
              <a:ext uri="{FF2B5EF4-FFF2-40B4-BE49-F238E27FC236}">
                <a16:creationId xmlns:a16="http://schemas.microsoft.com/office/drawing/2014/main" id="{4387CC51-F9D7-D7CA-5503-EEFC8A2550B0}"/>
              </a:ext>
            </a:extLst>
          </p:cNvPr>
          <p:cNvSpPr txBox="1"/>
          <p:nvPr/>
        </p:nvSpPr>
        <p:spPr>
          <a:xfrm>
            <a:off x="7929742" y="3253294"/>
            <a:ext cx="1493227" cy="5539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i="1" u="none" strike="noStrike" kern="1200" cap="none" spc="0" normalizeH="0" baseline="0" noProof="0">
                <a:ln>
                  <a:noFill/>
                </a:ln>
                <a:solidFill>
                  <a:srgbClr val="9A3488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staciones al 2030 con Renovación interior</a:t>
            </a:r>
            <a:endParaRPr kumimoji="0" lang="es-CL" sz="100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234A70A6-316F-6786-4EDA-FA9CA1B45C02}"/>
              </a:ext>
            </a:extLst>
          </p:cNvPr>
          <p:cNvSpPr/>
          <p:nvPr/>
        </p:nvSpPr>
        <p:spPr>
          <a:xfrm>
            <a:off x="0" y="0"/>
            <a:ext cx="12192000" cy="8964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7D6D7EE6-09A5-1F16-DD30-EC9E271C6F96}"/>
              </a:ext>
            </a:extLst>
          </p:cNvPr>
          <p:cNvSpPr txBox="1"/>
          <p:nvPr/>
        </p:nvSpPr>
        <p:spPr>
          <a:xfrm>
            <a:off x="212538" y="307715"/>
            <a:ext cx="10504147" cy="4247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defTabSz="914400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s-ES"/>
              <a:t>Revalorización del interior de estaciones en red convencional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8EF59B8-610D-F5DF-73AF-138AE0A70C8D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1299479" y="-10578"/>
            <a:ext cx="892521" cy="896471"/>
          </a:xfrm>
          <a:prstGeom prst="rect">
            <a:avLst/>
          </a:prstGeom>
        </p:spPr>
      </p:pic>
      <p:pic>
        <p:nvPicPr>
          <p:cNvPr id="12" name="Gráfico 11" descr="Hogar con relleno sólido">
            <a:hlinkClick r:id="rId22" action="ppaction://hlinksldjump"/>
            <a:extLst>
              <a:ext uri="{FF2B5EF4-FFF2-40B4-BE49-F238E27FC236}">
                <a16:creationId xmlns:a16="http://schemas.microsoft.com/office/drawing/2014/main" id="{FBC9EB33-5A9C-2D66-707E-EFCF7281C914}"/>
              </a:ext>
            </a:extLst>
          </p:cNvPr>
          <p:cNvPicPr>
            <a:picLocks noChangeAspect="1"/>
          </p:cNvPicPr>
          <p:nvPr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11454063" y="6089019"/>
            <a:ext cx="433137" cy="433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8107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n 13">
            <a:extLst>
              <a:ext uri="{FF2B5EF4-FFF2-40B4-BE49-F238E27FC236}">
                <a16:creationId xmlns:a16="http://schemas.microsoft.com/office/drawing/2014/main" id="{755FC290-0750-E8AD-026D-2192A6A11B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288" r="10028"/>
          <a:stretch/>
        </p:blipFill>
        <p:spPr>
          <a:xfrm>
            <a:off x="5992377" y="4053750"/>
            <a:ext cx="3001421" cy="2278857"/>
          </a:xfrm>
          <a:prstGeom prst="rect">
            <a:avLst/>
          </a:prstGeom>
        </p:spPr>
      </p:pic>
      <p:pic>
        <p:nvPicPr>
          <p:cNvPr id="3" name="Imagen 2" descr="Imagen que contiene interior, con baldosas, azul, azulejo&#10;&#10;Descripción generada automáticamente">
            <a:extLst>
              <a:ext uri="{FF2B5EF4-FFF2-40B4-BE49-F238E27FC236}">
                <a16:creationId xmlns:a16="http://schemas.microsoft.com/office/drawing/2014/main" id="{C8C5D0B1-26C7-874C-D50E-9C02A47B775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99" r="5276" b="16218"/>
          <a:stretch/>
        </p:blipFill>
        <p:spPr>
          <a:xfrm rot="5400000">
            <a:off x="5914656" y="1759871"/>
            <a:ext cx="2113443" cy="1958000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23C10E38-EC2E-1C0B-9103-F32DFE042B90}"/>
              </a:ext>
            </a:extLst>
          </p:cNvPr>
          <p:cNvSpPr txBox="1"/>
          <p:nvPr/>
        </p:nvSpPr>
        <p:spPr>
          <a:xfrm>
            <a:off x="595472" y="1597651"/>
            <a:ext cx="5335012" cy="48468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  <a:tabLst>
                <a:tab pos="542925" algn="l"/>
              </a:tabLst>
            </a:pPr>
            <a:r>
              <a:rPr lang="es-ES" sz="1600">
                <a:latin typeface="Century Gothic" panose="020B0502020202020204" pitchFamily="34" charset="0"/>
              </a:rPr>
              <a:t>Revisión de revestimientos </a:t>
            </a:r>
          </a:p>
          <a:p>
            <a:pPr marL="686120" lvl="1" indent="-34290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542925" algn="l"/>
              </a:tabLst>
            </a:pPr>
            <a:r>
              <a:rPr lang="es-ES" sz="1600" b="0" i="0" u="none" strike="noStrike" baseline="0">
                <a:latin typeface="Century Gothic" panose="020B0502020202020204" pitchFamily="34" charset="0"/>
              </a:rPr>
              <a:t>Reparación de revestimientos e</a:t>
            </a:r>
            <a:r>
              <a:rPr lang="es-ES" sz="1600">
                <a:latin typeface="Century Gothic" panose="020B0502020202020204" pitchFamily="34" charset="0"/>
              </a:rPr>
              <a:t>xistentes</a:t>
            </a:r>
          </a:p>
          <a:p>
            <a:pPr marL="686120" lvl="1" indent="-34290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542925" algn="l"/>
              </a:tabLst>
            </a:pPr>
            <a:r>
              <a:rPr lang="es-ES" sz="1600" b="0" i="0" u="none" strike="noStrike" baseline="0">
                <a:latin typeface="Century Gothic" panose="020B0502020202020204" pitchFamily="34" charset="0"/>
              </a:rPr>
              <a:t>P</a:t>
            </a:r>
            <a:r>
              <a:rPr lang="es-ES" sz="1600">
                <a:latin typeface="Century Gothic" panose="020B0502020202020204" pitchFamily="34" charset="0"/>
              </a:rPr>
              <a:t>ropuesta de nuevos revestimientos (cielos, frontones, pavimentos …) para renovar y mejorar imagen arquitectónica</a:t>
            </a:r>
          </a:p>
          <a:p>
            <a:pPr marL="686120" lvl="1" indent="-34290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542925" algn="l"/>
              </a:tabLst>
            </a:pPr>
            <a:endParaRPr lang="es-ES" sz="1600">
              <a:latin typeface="Century Gothic" panose="020B0502020202020204" pitchFamily="34" charset="0"/>
            </a:endParaRPr>
          </a:p>
          <a:p>
            <a:pPr marL="342900" lvl="1" indent="-342900">
              <a:lnSpc>
                <a:spcPct val="150000"/>
              </a:lnSpc>
              <a:buAutoNum type="arabicPeriod" startAt="2"/>
              <a:tabLst>
                <a:tab pos="361950" algn="l"/>
              </a:tabLst>
            </a:pPr>
            <a:r>
              <a:rPr lang="es-ES" sz="1600">
                <a:latin typeface="Century Gothic" panose="020B0502020202020204" pitchFamily="34" charset="0"/>
              </a:rPr>
              <a:t>Puesta en valor de elementos o arquitectura existente</a:t>
            </a:r>
            <a:br>
              <a:rPr lang="es-ES" sz="1600">
                <a:latin typeface="Century Gothic" panose="020B0502020202020204" pitchFamily="34" charset="0"/>
              </a:rPr>
            </a:br>
            <a:endParaRPr lang="es-ES" sz="1600">
              <a:latin typeface="Century Gothic" panose="020B0502020202020204" pitchFamily="34" charset="0"/>
            </a:endParaRPr>
          </a:p>
          <a:p>
            <a:pPr marL="342900" lvl="1" indent="-342900">
              <a:lnSpc>
                <a:spcPct val="150000"/>
              </a:lnSpc>
              <a:buAutoNum type="arabicPeriod" startAt="2"/>
              <a:tabLst>
                <a:tab pos="361950" algn="l"/>
              </a:tabLst>
            </a:pPr>
            <a:r>
              <a:rPr lang="es-ES" sz="1600">
                <a:latin typeface="Century Gothic" panose="020B0502020202020204" pitchFamily="34" charset="0"/>
              </a:rPr>
              <a:t>Patrón de identidad arquitectónico por línea</a:t>
            </a:r>
            <a:br>
              <a:rPr lang="es-ES" sz="1600">
                <a:latin typeface="Century Gothic" panose="020B0502020202020204" pitchFamily="34" charset="0"/>
              </a:rPr>
            </a:br>
            <a:endParaRPr lang="es-ES" sz="1600">
              <a:latin typeface="Century Gothic" panose="020B0502020202020204" pitchFamily="34" charset="0"/>
            </a:endParaRPr>
          </a:p>
          <a:p>
            <a:pPr marL="342900" lvl="1" indent="-342900">
              <a:lnSpc>
                <a:spcPct val="150000"/>
              </a:lnSpc>
              <a:buAutoNum type="arabicPeriod" startAt="2"/>
              <a:tabLst>
                <a:tab pos="361950" algn="l"/>
              </a:tabLst>
            </a:pPr>
            <a:r>
              <a:rPr lang="es-ES" sz="1600">
                <a:latin typeface="Century Gothic" panose="020B0502020202020204" pitchFamily="34" charset="0"/>
              </a:rPr>
              <a:t>Revisión de elementos operacionales correspondientes a mantenimiento mayor.</a:t>
            </a:r>
            <a:endParaRPr lang="es-ES" sz="1200" i="1">
              <a:latin typeface="Century Gothic" panose="020B0502020202020204" pitchFamily="34" charset="0"/>
            </a:endParaRPr>
          </a:p>
        </p:txBody>
      </p:sp>
      <p:pic>
        <p:nvPicPr>
          <p:cNvPr id="8" name="Imagen 7" descr="Una estación de metro&#10;&#10;Descripción generada automáticamente con confianza baja">
            <a:extLst>
              <a:ext uri="{FF2B5EF4-FFF2-40B4-BE49-F238E27FC236}">
                <a16:creationId xmlns:a16="http://schemas.microsoft.com/office/drawing/2014/main" id="{2929E5EC-6E99-E4ED-BE4F-E6F03564B4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890"/>
          <a:stretch/>
        </p:blipFill>
        <p:spPr>
          <a:xfrm>
            <a:off x="9173729" y="4053750"/>
            <a:ext cx="2646796" cy="2278857"/>
          </a:xfrm>
          <a:prstGeom prst="rect">
            <a:avLst/>
          </a:prstGeom>
        </p:spPr>
      </p:pic>
      <p:sp>
        <p:nvSpPr>
          <p:cNvPr id="9" name="Elipse 8">
            <a:extLst>
              <a:ext uri="{FF2B5EF4-FFF2-40B4-BE49-F238E27FC236}">
                <a16:creationId xmlns:a16="http://schemas.microsoft.com/office/drawing/2014/main" id="{6B994726-AC1E-E5CF-E0A6-262727A2C5BB}"/>
              </a:ext>
            </a:extLst>
          </p:cNvPr>
          <p:cNvSpPr/>
          <p:nvPr/>
        </p:nvSpPr>
        <p:spPr>
          <a:xfrm>
            <a:off x="7645578" y="1791839"/>
            <a:ext cx="304800" cy="299281"/>
          </a:xfrm>
          <a:prstGeom prst="ellipse">
            <a:avLst/>
          </a:prstGeom>
          <a:solidFill>
            <a:srgbClr val="9A348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/>
              <a:t>1</a:t>
            </a:r>
            <a:endParaRPr lang="es-CL"/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189D795D-C4FC-E679-B4D4-B1F0A3DF5C06}"/>
              </a:ext>
            </a:extLst>
          </p:cNvPr>
          <p:cNvSpPr/>
          <p:nvPr/>
        </p:nvSpPr>
        <p:spPr>
          <a:xfrm>
            <a:off x="11421378" y="1791839"/>
            <a:ext cx="304800" cy="299281"/>
          </a:xfrm>
          <a:prstGeom prst="ellipse">
            <a:avLst/>
          </a:prstGeom>
          <a:solidFill>
            <a:srgbClr val="9A348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/>
              <a:t>2</a:t>
            </a:r>
            <a:endParaRPr lang="es-CL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5412A761-8EB2-C29C-3617-AEF03D6AD17C}"/>
              </a:ext>
            </a:extLst>
          </p:cNvPr>
          <p:cNvSpPr/>
          <p:nvPr/>
        </p:nvSpPr>
        <p:spPr>
          <a:xfrm>
            <a:off x="8584334" y="4146640"/>
            <a:ext cx="304800" cy="299281"/>
          </a:xfrm>
          <a:prstGeom prst="ellipse">
            <a:avLst/>
          </a:prstGeom>
          <a:solidFill>
            <a:srgbClr val="9A348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/>
              <a:t>2</a:t>
            </a:r>
            <a:endParaRPr lang="es-CL"/>
          </a:p>
        </p:txBody>
      </p:sp>
      <p:sp>
        <p:nvSpPr>
          <p:cNvPr id="21" name="Elipse 20">
            <a:extLst>
              <a:ext uri="{FF2B5EF4-FFF2-40B4-BE49-F238E27FC236}">
                <a16:creationId xmlns:a16="http://schemas.microsoft.com/office/drawing/2014/main" id="{87332684-AF48-AB78-77FA-CDD296CEBFCE}"/>
              </a:ext>
            </a:extLst>
          </p:cNvPr>
          <p:cNvSpPr/>
          <p:nvPr/>
        </p:nvSpPr>
        <p:spPr>
          <a:xfrm>
            <a:off x="11421378" y="4146639"/>
            <a:ext cx="304800" cy="299281"/>
          </a:xfrm>
          <a:prstGeom prst="ellipse">
            <a:avLst/>
          </a:prstGeom>
          <a:solidFill>
            <a:srgbClr val="9A348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/>
              <a:t>3</a:t>
            </a:r>
            <a:endParaRPr lang="es-CL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80ED5C4E-BAC4-287C-23DC-CD45ABA36B05}"/>
              </a:ext>
            </a:extLst>
          </p:cNvPr>
          <p:cNvSpPr txBox="1"/>
          <p:nvPr/>
        </p:nvSpPr>
        <p:spPr>
          <a:xfrm>
            <a:off x="486849" y="821008"/>
            <a:ext cx="6878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ETAPA 1</a:t>
            </a:r>
            <a:endParaRPr lang="es-CL" sz="1800" b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D38F95FB-80A6-0FA9-389B-CE7F6334354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052" t="20984" r="17251" b="27822"/>
          <a:stretch/>
        </p:blipFill>
        <p:spPr>
          <a:xfrm>
            <a:off x="8138227" y="1682150"/>
            <a:ext cx="3682298" cy="2113444"/>
          </a:xfrm>
          <a:prstGeom prst="rect">
            <a:avLst/>
          </a:prstGeom>
        </p:spPr>
      </p:pic>
      <p:sp>
        <p:nvSpPr>
          <p:cNvPr id="22" name="Elipse 21">
            <a:extLst>
              <a:ext uri="{FF2B5EF4-FFF2-40B4-BE49-F238E27FC236}">
                <a16:creationId xmlns:a16="http://schemas.microsoft.com/office/drawing/2014/main" id="{56381822-F7AD-69E0-4AF5-ADCF3DE69A3C}"/>
              </a:ext>
            </a:extLst>
          </p:cNvPr>
          <p:cNvSpPr/>
          <p:nvPr/>
        </p:nvSpPr>
        <p:spPr>
          <a:xfrm>
            <a:off x="11398836" y="1791839"/>
            <a:ext cx="304800" cy="299281"/>
          </a:xfrm>
          <a:prstGeom prst="ellipse">
            <a:avLst/>
          </a:prstGeom>
          <a:solidFill>
            <a:srgbClr val="9A348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/>
              <a:t>1</a:t>
            </a:r>
            <a:endParaRPr lang="es-CL"/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7090F74C-01E4-289B-1645-81BC8F183DA7}"/>
              </a:ext>
            </a:extLst>
          </p:cNvPr>
          <p:cNvSpPr txBox="1"/>
          <p:nvPr/>
        </p:nvSpPr>
        <p:spPr>
          <a:xfrm>
            <a:off x="454585" y="285015"/>
            <a:ext cx="9065019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VALORIZACIÓN</a:t>
            </a:r>
            <a:r>
              <a:rPr lang="es-ES" sz="2000" b="1" u="none" strike="noStrike" baseline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DEL INTERIOR DE ESTACIONES EN RED CONVENCIONAL</a:t>
            </a:r>
          </a:p>
        </p:txBody>
      </p:sp>
    </p:spTree>
    <p:extLst>
      <p:ext uri="{BB962C8B-B14F-4D97-AF65-F5344CB8AC3E}">
        <p14:creationId xmlns:p14="http://schemas.microsoft.com/office/powerpoint/2010/main" val="5804241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>
            <a:extLst>
              <a:ext uri="{FF2B5EF4-FFF2-40B4-BE49-F238E27FC236}">
                <a16:creationId xmlns:a16="http://schemas.microsoft.com/office/drawing/2014/main" id="{23C10E38-EC2E-1C0B-9103-F32DFE042B90}"/>
              </a:ext>
            </a:extLst>
          </p:cNvPr>
          <p:cNvSpPr txBox="1"/>
          <p:nvPr/>
        </p:nvSpPr>
        <p:spPr>
          <a:xfrm>
            <a:off x="550863" y="2041199"/>
            <a:ext cx="5101860" cy="22615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lnSpc>
                <a:spcPct val="150000"/>
              </a:lnSpc>
              <a:tabLst>
                <a:tab pos="361950" algn="l"/>
              </a:tabLst>
            </a:pPr>
            <a:endParaRPr lang="es-ES" sz="1600">
              <a:solidFill>
                <a:srgbClr val="585858"/>
              </a:solidFill>
              <a:latin typeface="Century Gothic" panose="020B0502020202020204" pitchFamily="34" charset="0"/>
            </a:endParaRPr>
          </a:p>
          <a:p>
            <a:pPr marL="342900" lvl="1" indent="-342900">
              <a:lnSpc>
                <a:spcPct val="150000"/>
              </a:lnSpc>
              <a:buAutoNum type="arabicPeriod" startAt="7"/>
              <a:tabLst>
                <a:tab pos="361950" algn="l"/>
              </a:tabLst>
            </a:pPr>
            <a:r>
              <a:rPr lang="es-ES" sz="1600">
                <a:latin typeface="Century Gothic" panose="020B0502020202020204" pitchFamily="34" charset="0"/>
              </a:rPr>
              <a:t>Iluminación funcional y arquitectónica de la estación y sus accesos</a:t>
            </a:r>
          </a:p>
          <a:p>
            <a:pPr marL="342900" lvl="1" indent="-342900">
              <a:lnSpc>
                <a:spcPct val="150000"/>
              </a:lnSpc>
              <a:buAutoNum type="arabicPeriod" startAt="7"/>
              <a:tabLst>
                <a:tab pos="361950" algn="l"/>
              </a:tabLst>
            </a:pPr>
            <a:endParaRPr lang="es-ES" sz="1600">
              <a:latin typeface="Century Gothic" panose="020B0502020202020204" pitchFamily="34" charset="0"/>
            </a:endParaRPr>
          </a:p>
          <a:p>
            <a:pPr marL="0" lvl="1">
              <a:lnSpc>
                <a:spcPct val="150000"/>
              </a:lnSpc>
              <a:tabLst>
                <a:tab pos="361950" algn="l"/>
              </a:tabLst>
            </a:pPr>
            <a:r>
              <a:rPr lang="es-ES" sz="1600">
                <a:latin typeface="Century Gothic" panose="020B0502020202020204" pitchFamily="34" charset="0"/>
              </a:rPr>
              <a:t>8.	Generar estándar para otros proyectos de 	modernización al interior de la estación.</a:t>
            </a:r>
            <a:endParaRPr kumimoji="0" lang="es-ES" sz="16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pic>
        <p:nvPicPr>
          <p:cNvPr id="12" name="Picture 2" descr="Metro de Santiago - #NuevoViaje on X: &quot;Hoy tenemos buenas noticias sobre la  extensión de L3. Aprovechamos de recordar la gran participación de vecinos  de Quilicura en 2021, cuando escogieron los iconos">
            <a:extLst>
              <a:ext uri="{FF2B5EF4-FFF2-40B4-BE49-F238E27FC236}">
                <a16:creationId xmlns:a16="http://schemas.microsoft.com/office/drawing/2014/main" id="{F8BD15EA-4033-08F9-5315-D11BDF8DA4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19" b="-623"/>
          <a:stretch/>
        </p:blipFill>
        <p:spPr bwMode="auto">
          <a:xfrm>
            <a:off x="9161307" y="1406940"/>
            <a:ext cx="2659218" cy="2726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https://grimshaw.global/assets/uploads/18021_Elizabeth_line_Bond_Street_N3_a3_low_quality.jpg">
            <a:extLst>
              <a:ext uri="{FF2B5EF4-FFF2-40B4-BE49-F238E27FC236}">
                <a16:creationId xmlns:a16="http://schemas.microsoft.com/office/drawing/2014/main" id="{52B2B30D-551F-8A25-9D62-A8406A223B2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226" b="5186"/>
          <a:stretch/>
        </p:blipFill>
        <p:spPr bwMode="auto">
          <a:xfrm>
            <a:off x="6047673" y="1406940"/>
            <a:ext cx="2890983" cy="2747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Elipse 15">
            <a:extLst>
              <a:ext uri="{FF2B5EF4-FFF2-40B4-BE49-F238E27FC236}">
                <a16:creationId xmlns:a16="http://schemas.microsoft.com/office/drawing/2014/main" id="{189D795D-C4FC-E679-B4D4-B1F0A3DF5C06}"/>
              </a:ext>
            </a:extLst>
          </p:cNvPr>
          <p:cNvSpPr/>
          <p:nvPr/>
        </p:nvSpPr>
        <p:spPr>
          <a:xfrm>
            <a:off x="8436639" y="1545809"/>
            <a:ext cx="304800" cy="299281"/>
          </a:xfrm>
          <a:prstGeom prst="ellipse">
            <a:avLst/>
          </a:prstGeom>
          <a:solidFill>
            <a:srgbClr val="9A348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/>
              <a:t>5</a:t>
            </a:r>
            <a:endParaRPr lang="es-CL"/>
          </a:p>
        </p:txBody>
      </p:sp>
      <p:sp>
        <p:nvSpPr>
          <p:cNvPr id="17" name="Elipse 16">
            <a:extLst>
              <a:ext uri="{FF2B5EF4-FFF2-40B4-BE49-F238E27FC236}">
                <a16:creationId xmlns:a16="http://schemas.microsoft.com/office/drawing/2014/main" id="{5412A761-8EB2-C29C-3617-AEF03D6AD17C}"/>
              </a:ext>
            </a:extLst>
          </p:cNvPr>
          <p:cNvSpPr/>
          <p:nvPr/>
        </p:nvSpPr>
        <p:spPr>
          <a:xfrm>
            <a:off x="11350248" y="1469681"/>
            <a:ext cx="304800" cy="299281"/>
          </a:xfrm>
          <a:prstGeom prst="ellipse">
            <a:avLst/>
          </a:prstGeom>
          <a:solidFill>
            <a:srgbClr val="9A348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/>
              <a:t>6</a:t>
            </a:r>
            <a:endParaRPr lang="es-CL"/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FDA13D66-21E2-C63C-E5B2-4019F136228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2" r="74714" b="38090"/>
          <a:stretch/>
        </p:blipFill>
        <p:spPr>
          <a:xfrm>
            <a:off x="6043718" y="4372154"/>
            <a:ext cx="2894938" cy="2295115"/>
          </a:xfrm>
          <a:prstGeom prst="rect">
            <a:avLst/>
          </a:prstGeom>
        </p:spPr>
      </p:pic>
      <p:sp>
        <p:nvSpPr>
          <p:cNvPr id="21" name="Elipse 20">
            <a:extLst>
              <a:ext uri="{FF2B5EF4-FFF2-40B4-BE49-F238E27FC236}">
                <a16:creationId xmlns:a16="http://schemas.microsoft.com/office/drawing/2014/main" id="{87332684-AF48-AB78-77FA-CDD296CEBFCE}"/>
              </a:ext>
            </a:extLst>
          </p:cNvPr>
          <p:cNvSpPr/>
          <p:nvPr/>
        </p:nvSpPr>
        <p:spPr>
          <a:xfrm>
            <a:off x="8510694" y="4483619"/>
            <a:ext cx="304800" cy="299281"/>
          </a:xfrm>
          <a:prstGeom prst="ellipse">
            <a:avLst/>
          </a:prstGeom>
          <a:solidFill>
            <a:srgbClr val="9A348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/>
              <a:t>7</a:t>
            </a:r>
            <a:endParaRPr lang="es-CL"/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EA34BB35-D58D-4E6B-A668-65EDE1CB369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979"/>
          <a:stretch/>
        </p:blipFill>
        <p:spPr>
          <a:xfrm>
            <a:off x="9125164" y="4372154"/>
            <a:ext cx="2695361" cy="2295115"/>
          </a:xfrm>
          <a:prstGeom prst="rect">
            <a:avLst/>
          </a:prstGeom>
        </p:spPr>
      </p:pic>
      <p:sp>
        <p:nvSpPr>
          <p:cNvPr id="4" name="Elipse 3">
            <a:extLst>
              <a:ext uri="{FF2B5EF4-FFF2-40B4-BE49-F238E27FC236}">
                <a16:creationId xmlns:a16="http://schemas.microsoft.com/office/drawing/2014/main" id="{BC0698EC-D79E-E61E-1F00-02F1EAF97520}"/>
              </a:ext>
            </a:extLst>
          </p:cNvPr>
          <p:cNvSpPr/>
          <p:nvPr/>
        </p:nvSpPr>
        <p:spPr>
          <a:xfrm>
            <a:off x="11350248" y="4483619"/>
            <a:ext cx="304800" cy="299281"/>
          </a:xfrm>
          <a:prstGeom prst="ellipse">
            <a:avLst/>
          </a:prstGeom>
          <a:solidFill>
            <a:srgbClr val="9A348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/>
              <a:t>8</a:t>
            </a:r>
            <a:endParaRPr lang="es-CL"/>
          </a:p>
        </p:txBody>
      </p:sp>
      <p:sp>
        <p:nvSpPr>
          <p:cNvPr id="10" name="Rectángulo 9">
            <a:extLst>
              <a:ext uri="{FF2B5EF4-FFF2-40B4-BE49-F238E27FC236}">
                <a16:creationId xmlns:a16="http://schemas.microsoft.com/office/drawing/2014/main" id="{7559C962-5A7C-B9ED-92B7-F52509761A02}"/>
              </a:ext>
            </a:extLst>
          </p:cNvPr>
          <p:cNvSpPr/>
          <p:nvPr/>
        </p:nvSpPr>
        <p:spPr>
          <a:xfrm>
            <a:off x="9161306" y="3222149"/>
            <a:ext cx="2659218" cy="9323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D29B3109-0461-9361-0BEB-B01CF2E2CF1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0292"/>
          <a:stretch/>
        </p:blipFill>
        <p:spPr>
          <a:xfrm>
            <a:off x="9444590" y="3297405"/>
            <a:ext cx="2092649" cy="857101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4DF2D7F5-FA79-6899-098B-0F6A387DE4E5}"/>
              </a:ext>
            </a:extLst>
          </p:cNvPr>
          <p:cNvSpPr txBox="1"/>
          <p:nvPr/>
        </p:nvSpPr>
        <p:spPr>
          <a:xfrm>
            <a:off x="454585" y="285015"/>
            <a:ext cx="9065019" cy="4001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kumimoji="0" lang="es-ES" sz="2000" b="1" i="0" u="none" strike="noStrike" kern="1200" cap="none" spc="0" normalizeH="0" baseline="0" noProof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VALORIZACIÓN</a:t>
            </a:r>
            <a:r>
              <a:rPr lang="es-ES" sz="2000" b="1" u="none" strike="noStrike" baseline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DEL INTERIOR DE ESTACIONES EN RED CONVENCIONAL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0DB28BD9-F709-1C85-6A92-4B5BF71B11B2}"/>
              </a:ext>
            </a:extLst>
          </p:cNvPr>
          <p:cNvSpPr txBox="1"/>
          <p:nvPr/>
        </p:nvSpPr>
        <p:spPr>
          <a:xfrm>
            <a:off x="486849" y="821008"/>
            <a:ext cx="68780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800" b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- ETAPA 1</a:t>
            </a:r>
            <a:endParaRPr lang="es-CL" sz="1800" b="1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65745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n 16">
            <a:extLst>
              <a:ext uri="{FF2B5EF4-FFF2-40B4-BE49-F238E27FC236}">
                <a16:creationId xmlns:a16="http://schemas.microsoft.com/office/drawing/2014/main" id="{6D01D7D7-109A-2CCE-5F5F-CBEFE11F0C2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53389" t="5744" r="841"/>
          <a:stretch/>
        </p:blipFill>
        <p:spPr>
          <a:xfrm>
            <a:off x="1685116" y="2844454"/>
            <a:ext cx="3295195" cy="3575256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61763D9B-39B9-EA87-88C4-C8D24AC5F6A5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5744" r="52168"/>
          <a:stretch/>
        </p:blipFill>
        <p:spPr>
          <a:xfrm>
            <a:off x="6452888" y="1141433"/>
            <a:ext cx="4955458" cy="5144818"/>
          </a:xfrm>
          <a:prstGeom prst="rect">
            <a:avLst/>
          </a:prstGeom>
        </p:spPr>
      </p:pic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FC0E7A5-110D-BB22-ADCE-48501835C8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8328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Diapositiva de think-cell" r:id="rId6" imgW="404" imgH="405" progId="TCLayout.ActiveDocument.1">
                  <p:embed/>
                </p:oleObj>
              </mc:Choice>
              <mc:Fallback>
                <p:oleObj name="Diapositiva de think-cell" r:id="rId6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C0E7A5-110D-BB22-ADCE-48501835C8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>
            <a:extLst>
              <a:ext uri="{FF2B5EF4-FFF2-40B4-BE49-F238E27FC236}">
                <a16:creationId xmlns:a16="http://schemas.microsoft.com/office/drawing/2014/main" id="{54CC1318-E4AD-8DCA-FA34-65B52345D80A}"/>
              </a:ext>
            </a:extLst>
          </p:cNvPr>
          <p:cNvSpPr/>
          <p:nvPr/>
        </p:nvSpPr>
        <p:spPr>
          <a:xfrm>
            <a:off x="0" y="0"/>
            <a:ext cx="12192000" cy="8964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A8C0E799-B440-0062-2DB4-C6621E37569F}"/>
              </a:ext>
            </a:extLst>
          </p:cNvPr>
          <p:cNvSpPr txBox="1"/>
          <p:nvPr/>
        </p:nvSpPr>
        <p:spPr>
          <a:xfrm>
            <a:off x="212538" y="244962"/>
            <a:ext cx="10504147" cy="4247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defTabSz="914400"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s-ES"/>
              <a:t>Etapa 1</a:t>
            </a:r>
          </a:p>
          <a:p>
            <a:r>
              <a:rPr lang="es-ES" sz="2000" b="0"/>
              <a:t>Estaciones</a:t>
            </a:r>
            <a:endParaRPr lang="es-ES" b="0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54FCF48-59A0-D908-E518-A868FB76626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99479" y="-10578"/>
            <a:ext cx="892521" cy="896471"/>
          </a:xfrm>
          <a:prstGeom prst="rect">
            <a:avLst/>
          </a:prstGeom>
        </p:spPr>
      </p:pic>
      <p:sp>
        <p:nvSpPr>
          <p:cNvPr id="30" name="Rectángulo: esquinas redondeadas 29">
            <a:extLst>
              <a:ext uri="{FF2B5EF4-FFF2-40B4-BE49-F238E27FC236}">
                <a16:creationId xmlns:a16="http://schemas.microsoft.com/office/drawing/2014/main" id="{907E0013-AA03-905C-9023-FD42FB1381EB}"/>
              </a:ext>
            </a:extLst>
          </p:cNvPr>
          <p:cNvSpPr/>
          <p:nvPr/>
        </p:nvSpPr>
        <p:spPr>
          <a:xfrm>
            <a:off x="212538" y="1204186"/>
            <a:ext cx="6650275" cy="157751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714375" indent="-353695">
              <a:spcAft>
                <a:spcPts val="600"/>
              </a:spcAft>
            </a:pPr>
            <a:r>
              <a:rPr lang="es-MX" sz="1400" b="1">
                <a:solidFill>
                  <a:schemeClr val="tx1"/>
                </a:solidFill>
                <a:latin typeface="+mj-lt"/>
              </a:rPr>
              <a:t>		Principios y objetivos </a:t>
            </a:r>
          </a:p>
          <a:p>
            <a:pPr marL="714375" indent="-353695">
              <a:spcAft>
                <a:spcPts val="600"/>
              </a:spcAft>
            </a:pPr>
            <a:r>
              <a:rPr lang="es-ES" sz="1600" i="1">
                <a:solidFill>
                  <a:schemeClr val="tx1"/>
                </a:solidFill>
                <a:latin typeface="Century Gothic"/>
              </a:rPr>
              <a:t>		</a:t>
            </a:r>
            <a:r>
              <a:rPr lang="es-ES" sz="1600">
                <a:solidFill>
                  <a:schemeClr val="tx1"/>
                </a:solidFill>
                <a:latin typeface="Century Gothic"/>
              </a:rPr>
              <a:t>Permitirá contar con espacios revalorizados en 9	estaciones de la red convencional, 	con motivo del aniversario de los 50 años de 	operación de Metro.</a:t>
            </a:r>
            <a:endParaRPr lang="en-US" sz="1600">
              <a:solidFill>
                <a:schemeClr val="tx1"/>
              </a:solidFill>
              <a:latin typeface="Century Gothic"/>
            </a:endParaRPr>
          </a:p>
          <a:p>
            <a:pPr marL="537845">
              <a:spcAft>
                <a:spcPts val="600"/>
              </a:spcAft>
            </a:pPr>
            <a:endParaRPr lang="es-CL" sz="1400">
              <a:solidFill>
                <a:schemeClr val="tx1"/>
              </a:solidFill>
              <a:latin typeface="+mj-lt"/>
              <a:cs typeface="Arial"/>
            </a:endParaRPr>
          </a:p>
        </p:txBody>
      </p:sp>
      <p:pic>
        <p:nvPicPr>
          <p:cNvPr id="31" name="Picture 2" descr="Objetivo - Iconos gratis de negocio">
            <a:extLst>
              <a:ext uri="{FF2B5EF4-FFF2-40B4-BE49-F238E27FC236}">
                <a16:creationId xmlns:a16="http://schemas.microsoft.com/office/drawing/2014/main" id="{012407CC-CBE3-D9DE-0E48-311689BCC4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935" y="1594935"/>
            <a:ext cx="647570" cy="602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15729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1D503B-48C9-6C34-B2D7-A1EC71E722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Marcador de contenido 2">
            <a:extLst>
              <a:ext uri="{FF2B5EF4-FFF2-40B4-BE49-F238E27FC236}">
                <a16:creationId xmlns:a16="http://schemas.microsoft.com/office/drawing/2014/main" id="{8D4BF28C-19AD-3F80-E783-902A913E332C}"/>
              </a:ext>
            </a:extLst>
          </p:cNvPr>
          <p:cNvSpPr txBox="1">
            <a:spLocks/>
          </p:cNvSpPr>
          <p:nvPr/>
        </p:nvSpPr>
        <p:spPr>
          <a:xfrm>
            <a:off x="4837482" y="703559"/>
            <a:ext cx="6691106" cy="592358"/>
          </a:xfrm>
          <a:prstGeom prst="rect">
            <a:avLst/>
          </a:prstGeom>
        </p:spPr>
        <p:txBody>
          <a:bodyPr>
            <a:noAutofit/>
          </a:bodyPr>
          <a:lstStyle>
            <a:lvl1pPr marL="342919" indent="-342919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1pPr>
            <a:lvl2pPr marL="742989" indent="-285765" algn="l" defTabSz="457224" rtl="0" eaLnBrk="1" latinLnBrk="0" hangingPunct="1">
              <a:spcBef>
                <a:spcPct val="20000"/>
              </a:spcBef>
              <a:buFont typeface="Arial"/>
              <a:buChar char="–"/>
              <a:defRPr sz="1101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2pPr>
            <a:lvl3pPr marL="1143061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1051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3pPr>
            <a:lvl4pPr marL="1600284" indent="-228613" algn="l" defTabSz="457224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4pPr>
            <a:lvl5pPr marL="2057509" indent="-228613" algn="l" defTabSz="457224" rtl="0" eaLnBrk="1" latinLnBrk="0" hangingPunct="1">
              <a:spcBef>
                <a:spcPct val="20000"/>
              </a:spcBef>
              <a:buFont typeface="Arial"/>
              <a:buChar char="»"/>
              <a:defRPr sz="1000" kern="1200">
                <a:solidFill>
                  <a:schemeClr val="tx1"/>
                </a:solidFill>
                <a:latin typeface="Gotham" panose="02000604030000020004" pitchFamily="50" charset="0"/>
                <a:ea typeface="+mn-ea"/>
                <a:cs typeface="Arial"/>
              </a:defRPr>
            </a:lvl5pPr>
            <a:lvl6pPr marL="2514733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58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82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406" indent="-228613" algn="l" defTabSz="45722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endParaRPr lang="es-CL" sz="1400" b="1">
              <a:latin typeface="Century Gothic" panose="020B0502020202020204" pitchFamily="34" charset="0"/>
            </a:endParaRPr>
          </a:p>
          <a:p>
            <a:pPr marL="457224" lvl="1" indent="0">
              <a:buNone/>
            </a:pPr>
            <a:r>
              <a:rPr lang="es-CL" sz="1800" b="1">
                <a:latin typeface="Century Gothic" panose="020B0502020202020204" pitchFamily="34" charset="0"/>
              </a:rPr>
              <a:t>L4A : San Ramón     La Granja     Santa Julia (2006) </a:t>
            </a:r>
          </a:p>
          <a:p>
            <a:pPr marL="457224" lvl="1" indent="0">
              <a:buNone/>
            </a:pPr>
            <a:endParaRPr lang="es-CL" sz="1800">
              <a:latin typeface="Century Gothic" panose="020B0502020202020204" pitchFamily="34" charset="0"/>
            </a:endParaRPr>
          </a:p>
        </p:txBody>
      </p:sp>
      <p:pic>
        <p:nvPicPr>
          <p:cNvPr id="23" name="Imagen 22">
            <a:extLst>
              <a:ext uri="{FF2B5EF4-FFF2-40B4-BE49-F238E27FC236}">
                <a16:creationId xmlns:a16="http://schemas.microsoft.com/office/drawing/2014/main" id="{CC51367C-504B-B8FB-761C-72094760037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732" r="28244" b="9524"/>
          <a:stretch/>
        </p:blipFill>
        <p:spPr>
          <a:xfrm>
            <a:off x="5170901" y="2409564"/>
            <a:ext cx="2481688" cy="1820845"/>
          </a:xfrm>
          <a:prstGeom prst="rect">
            <a:avLst/>
          </a:prstGeom>
        </p:spPr>
      </p:pic>
      <p:pic>
        <p:nvPicPr>
          <p:cNvPr id="27" name="Imagen 26" descr="Imagen que contiene cerca, edificio, metal, tren&#10;&#10;Descripción generada automáticamente">
            <a:extLst>
              <a:ext uri="{FF2B5EF4-FFF2-40B4-BE49-F238E27FC236}">
                <a16:creationId xmlns:a16="http://schemas.microsoft.com/office/drawing/2014/main" id="{2D181B0C-8ACC-A587-C059-5ACDA759AD4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0033087" y="2635717"/>
            <a:ext cx="1809215" cy="1356912"/>
          </a:xfrm>
          <a:prstGeom prst="rect">
            <a:avLst/>
          </a:prstGeom>
        </p:spPr>
      </p:pic>
      <p:pic>
        <p:nvPicPr>
          <p:cNvPr id="30" name="Imagen 29" descr="Imagen que contiene edificio, objeto, tren, metal&#10;&#10;Descripción generada automáticamente">
            <a:extLst>
              <a:ext uri="{FF2B5EF4-FFF2-40B4-BE49-F238E27FC236}">
                <a16:creationId xmlns:a16="http://schemas.microsoft.com/office/drawing/2014/main" id="{6B551D3B-338E-97D8-7EBE-5C5DCC69934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48"/>
          <a:stretch/>
        </p:blipFill>
        <p:spPr>
          <a:xfrm>
            <a:off x="7770302" y="2423337"/>
            <a:ext cx="2371222" cy="1795444"/>
          </a:xfrm>
          <a:prstGeom prst="rect">
            <a:avLst/>
          </a:prstGeom>
        </p:spPr>
      </p:pic>
      <p:graphicFrame>
        <p:nvGraphicFramePr>
          <p:cNvPr id="54" name="Tabla 53">
            <a:extLst>
              <a:ext uri="{FF2B5EF4-FFF2-40B4-BE49-F238E27FC236}">
                <a16:creationId xmlns:a16="http://schemas.microsoft.com/office/drawing/2014/main" id="{0CD3102B-2ACF-EE64-6081-31ABE62D29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464042"/>
              </p:ext>
            </p:extLst>
          </p:nvPr>
        </p:nvGraphicFramePr>
        <p:xfrm>
          <a:off x="6572481" y="4871758"/>
          <a:ext cx="3754756" cy="753063"/>
        </p:xfrm>
        <a:graphic>
          <a:graphicData uri="http://schemas.openxmlformats.org/drawingml/2006/table">
            <a:tbl>
              <a:tblPr/>
              <a:tblGrid>
                <a:gridCol w="1529502">
                  <a:extLst>
                    <a:ext uri="{9D8B030D-6E8A-4147-A177-3AD203B41FA5}">
                      <a16:colId xmlns:a16="http://schemas.microsoft.com/office/drawing/2014/main" val="2377032666"/>
                    </a:ext>
                  </a:extLst>
                </a:gridCol>
                <a:gridCol w="913387">
                  <a:extLst>
                    <a:ext uri="{9D8B030D-6E8A-4147-A177-3AD203B41FA5}">
                      <a16:colId xmlns:a16="http://schemas.microsoft.com/office/drawing/2014/main" val="4153719350"/>
                    </a:ext>
                  </a:extLst>
                </a:gridCol>
                <a:gridCol w="1311867">
                  <a:extLst>
                    <a:ext uri="{9D8B030D-6E8A-4147-A177-3AD203B41FA5}">
                      <a16:colId xmlns:a16="http://schemas.microsoft.com/office/drawing/2014/main" val="1061046877"/>
                    </a:ext>
                  </a:extLst>
                </a:gridCol>
              </a:tblGrid>
              <a:tr h="212724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Estación  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Afluencia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900" b="1" i="0" u="none" strike="noStrike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Tipo de acceso </a:t>
                      </a: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A34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8410548"/>
                  </a:ext>
                </a:extLst>
              </a:tr>
              <a:tr h="180113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anta Julia</a:t>
                      </a:r>
                      <a:endParaRPr lang="es-CL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170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rinchera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621536"/>
                  </a:ext>
                </a:extLst>
              </a:tr>
              <a:tr h="180113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La Granja</a:t>
                      </a:r>
                      <a:endParaRPr lang="es-CL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995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rinchera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5117012"/>
                  </a:ext>
                </a:extLst>
              </a:tr>
              <a:tr h="180113"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an Ramón</a:t>
                      </a:r>
                      <a:endParaRPr lang="es-CL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810</a:t>
                      </a:r>
                      <a:endParaRPr lang="es-CL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rinchera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1760067"/>
                  </a:ext>
                </a:extLst>
              </a:tr>
            </a:tbl>
          </a:graphicData>
        </a:graphic>
      </p:graphicFrame>
      <p:sp>
        <p:nvSpPr>
          <p:cNvPr id="4" name="CuadroTexto 3">
            <a:extLst>
              <a:ext uri="{FF2B5EF4-FFF2-40B4-BE49-F238E27FC236}">
                <a16:creationId xmlns:a16="http://schemas.microsoft.com/office/drawing/2014/main" id="{B9744BBC-5667-4877-A9BC-D6A27FC4DB91}"/>
              </a:ext>
            </a:extLst>
          </p:cNvPr>
          <p:cNvSpPr txBox="1"/>
          <p:nvPr/>
        </p:nvSpPr>
        <p:spPr>
          <a:xfrm>
            <a:off x="4841625" y="1409393"/>
            <a:ext cx="721646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lvl="1" indent="0">
              <a:buNone/>
            </a:pPr>
            <a:endParaRPr lang="es-ES" sz="1400" b="1" i="1">
              <a:solidFill>
                <a:schemeClr val="accent2">
                  <a:lumMod val="90000"/>
                  <a:lumOff val="10000"/>
                </a:schemeClr>
              </a:solidFill>
              <a:latin typeface="Century Gothic" panose="020B0502020202020204" pitchFamily="34" charset="0"/>
            </a:endParaRPr>
          </a:p>
          <a:p>
            <a:pPr marL="457200" lvl="1" indent="0">
              <a:buNone/>
            </a:pPr>
            <a:r>
              <a:rPr lang="es-MX" sz="1400" b="1">
                <a:solidFill>
                  <a:schemeClr val="accent2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</a:rPr>
              <a:t>Carácter de la renovación: </a:t>
            </a:r>
            <a:r>
              <a:rPr lang="es-CL" sz="1400">
                <a:solidFill>
                  <a:schemeClr val="accent2">
                    <a:lumMod val="90000"/>
                    <a:lumOff val="10000"/>
                  </a:schemeClr>
                </a:solidFill>
                <a:latin typeface="Century Gothic" panose="020B0502020202020204" pitchFamily="34" charset="0"/>
              </a:rPr>
              <a:t>Elevar el estándar de la calidad arquitectónica e igualar al resto de la red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87CD049-E0F1-8C37-F2C0-09C01C3FD5C0}"/>
              </a:ext>
            </a:extLst>
          </p:cNvPr>
          <p:cNvSpPr txBox="1"/>
          <p:nvPr/>
        </p:nvSpPr>
        <p:spPr>
          <a:xfrm>
            <a:off x="719431" y="464872"/>
            <a:ext cx="68780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600" b="1">
                <a:latin typeface="Century Gothic" panose="020B0502020202020204" pitchFamily="34" charset="0"/>
              </a:rPr>
              <a:t>Definición de estaciones</a:t>
            </a:r>
            <a:endParaRPr lang="es-CL" sz="1600" b="1">
              <a:latin typeface="Century Gothic" panose="020B0502020202020204" pitchFamily="34" charset="0"/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9C8FE4DA-D65E-D1DA-91AE-2C7E9A5A959D}"/>
              </a:ext>
            </a:extLst>
          </p:cNvPr>
          <p:cNvSpPr txBox="1"/>
          <p:nvPr/>
        </p:nvSpPr>
        <p:spPr>
          <a:xfrm>
            <a:off x="731838" y="188764"/>
            <a:ext cx="1050414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s-ES" sz="1600" b="0" i="0" u="none" strike="noStrike" kern="1200" cap="none" spc="0" normalizeH="0" baseline="0" noProof="0">
                <a:ln>
                  <a:noFill/>
                </a:ln>
                <a:solidFill>
                  <a:srgbClr val="9A3488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valorización</a:t>
            </a:r>
            <a:r>
              <a:rPr lang="es-ES" sz="1600" u="none" strike="noStrike" baseline="0">
                <a:solidFill>
                  <a:srgbClr val="9A3488"/>
                </a:solidFill>
                <a:latin typeface="Century Gothic" panose="020B0502020202020204" pitchFamily="34" charset="0"/>
              </a:rPr>
              <a:t> del interior de estaciones en red convencional</a:t>
            </a:r>
          </a:p>
        </p:txBody>
      </p:sp>
      <p:pic>
        <p:nvPicPr>
          <p:cNvPr id="5" name="Gráfico 4" descr="Hogar con relleno sólido">
            <a:hlinkClick r:id="rId5" action="ppaction://hlinksldjump"/>
            <a:extLst>
              <a:ext uri="{FF2B5EF4-FFF2-40B4-BE49-F238E27FC236}">
                <a16:creationId xmlns:a16="http://schemas.microsoft.com/office/drawing/2014/main" id="{22B9F6D1-92C6-D352-D0D6-E9E429DDE259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1454063" y="6089019"/>
            <a:ext cx="433137" cy="433137"/>
          </a:xfrm>
          <a:prstGeom prst="rect">
            <a:avLst/>
          </a:prstGeom>
        </p:spPr>
      </p:pic>
      <p:grpSp>
        <p:nvGrpSpPr>
          <p:cNvPr id="10" name="Grupo 9">
            <a:extLst>
              <a:ext uri="{FF2B5EF4-FFF2-40B4-BE49-F238E27FC236}">
                <a16:creationId xmlns:a16="http://schemas.microsoft.com/office/drawing/2014/main" id="{911E8114-521E-00AD-B983-21FF42A33EE8}"/>
              </a:ext>
            </a:extLst>
          </p:cNvPr>
          <p:cNvGrpSpPr/>
          <p:nvPr/>
        </p:nvGrpSpPr>
        <p:grpSpPr>
          <a:xfrm>
            <a:off x="133907" y="862057"/>
            <a:ext cx="4882105" cy="5886126"/>
            <a:chOff x="133907" y="862057"/>
            <a:chExt cx="4882105" cy="5886126"/>
          </a:xfrm>
        </p:grpSpPr>
        <p:grpSp>
          <p:nvGrpSpPr>
            <p:cNvPr id="33" name="Grupo 32">
              <a:extLst>
                <a:ext uri="{FF2B5EF4-FFF2-40B4-BE49-F238E27FC236}">
                  <a16:creationId xmlns:a16="http://schemas.microsoft.com/office/drawing/2014/main" id="{E2260F67-2C61-4C8B-C741-0F0EB3CBBAEE}"/>
                </a:ext>
              </a:extLst>
            </p:cNvPr>
            <p:cNvGrpSpPr/>
            <p:nvPr/>
          </p:nvGrpSpPr>
          <p:grpSpPr>
            <a:xfrm>
              <a:off x="133907" y="862057"/>
              <a:ext cx="4882105" cy="5886126"/>
              <a:chOff x="40806" y="137063"/>
              <a:chExt cx="5567083" cy="6711972"/>
            </a:xfrm>
          </p:grpSpPr>
          <p:grpSp>
            <p:nvGrpSpPr>
              <p:cNvPr id="34" name="Grupo 33">
                <a:extLst>
                  <a:ext uri="{FF2B5EF4-FFF2-40B4-BE49-F238E27FC236}">
                    <a16:creationId xmlns:a16="http://schemas.microsoft.com/office/drawing/2014/main" id="{3EC488A8-E9B3-6BA3-5E29-DE3A3DB5281E}"/>
                  </a:ext>
                </a:extLst>
              </p:cNvPr>
              <p:cNvGrpSpPr/>
              <p:nvPr/>
            </p:nvGrpSpPr>
            <p:grpSpPr>
              <a:xfrm>
                <a:off x="40806" y="137063"/>
                <a:ext cx="5567083" cy="6711972"/>
                <a:chOff x="342313" y="169930"/>
                <a:chExt cx="5314416" cy="6407343"/>
              </a:xfrm>
            </p:grpSpPr>
            <p:pic>
              <p:nvPicPr>
                <p:cNvPr id="37" name="Imagen 36" descr="Gráfico, Mapa&#10;&#10;Descripción generada automáticamente">
                  <a:extLst>
                    <a:ext uri="{FF2B5EF4-FFF2-40B4-BE49-F238E27FC236}">
                      <a16:creationId xmlns:a16="http://schemas.microsoft.com/office/drawing/2014/main" id="{AE13AB8B-488B-6E8D-2168-6D471B4315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8813" t="16921" r="3141" b="7995"/>
                <a:stretch/>
              </p:blipFill>
              <p:spPr>
                <a:xfrm>
                  <a:off x="342313" y="169930"/>
                  <a:ext cx="5314416" cy="6407343"/>
                </a:xfrm>
                <a:prstGeom prst="rect">
                  <a:avLst/>
                </a:prstGeom>
              </p:spPr>
            </p:pic>
            <p:sp>
              <p:nvSpPr>
                <p:cNvPr id="40" name="CuadroTexto 39">
                  <a:extLst>
                    <a:ext uri="{FF2B5EF4-FFF2-40B4-BE49-F238E27FC236}">
                      <a16:creationId xmlns:a16="http://schemas.microsoft.com/office/drawing/2014/main" id="{108952AA-3DBC-EB5D-93AE-BA2FC6696D70}"/>
                    </a:ext>
                  </a:extLst>
                </p:cNvPr>
                <p:cNvSpPr txBox="1"/>
                <p:nvPr/>
              </p:nvSpPr>
              <p:spPr>
                <a:xfrm rot="2609628">
                  <a:off x="2279578" y="4331383"/>
                  <a:ext cx="999331" cy="1769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San Ramón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41" name="Elipse 40">
                  <a:extLst>
                    <a:ext uri="{FF2B5EF4-FFF2-40B4-BE49-F238E27FC236}">
                      <a16:creationId xmlns:a16="http://schemas.microsoft.com/office/drawing/2014/main" id="{802D1E1C-900E-B755-E234-80FED4134AAC}"/>
                    </a:ext>
                  </a:extLst>
                </p:cNvPr>
                <p:cNvSpPr/>
                <p:nvPr/>
              </p:nvSpPr>
              <p:spPr>
                <a:xfrm>
                  <a:off x="3058107" y="4748210"/>
                  <a:ext cx="85302" cy="82550"/>
                </a:xfrm>
                <a:prstGeom prst="ellipse">
                  <a:avLst/>
                </a:prstGeom>
                <a:solidFill>
                  <a:srgbClr val="64CBEF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42" name="Elipse 41">
                  <a:extLst>
                    <a:ext uri="{FF2B5EF4-FFF2-40B4-BE49-F238E27FC236}">
                      <a16:creationId xmlns:a16="http://schemas.microsoft.com/office/drawing/2014/main" id="{519ACFEE-31F4-997C-8303-39CBF9447C7D}"/>
                    </a:ext>
                  </a:extLst>
                </p:cNvPr>
                <p:cNvSpPr/>
                <p:nvPr/>
              </p:nvSpPr>
              <p:spPr>
                <a:xfrm>
                  <a:off x="3606793" y="4748210"/>
                  <a:ext cx="85302" cy="82550"/>
                </a:xfrm>
                <a:prstGeom prst="ellipse">
                  <a:avLst/>
                </a:prstGeom>
                <a:solidFill>
                  <a:srgbClr val="64CBEF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43" name="CuadroTexto 42">
                  <a:extLst>
                    <a:ext uri="{FF2B5EF4-FFF2-40B4-BE49-F238E27FC236}">
                      <a16:creationId xmlns:a16="http://schemas.microsoft.com/office/drawing/2014/main" id="{30D43EFD-D4E3-08C5-8817-38A9D07093E4}"/>
                    </a:ext>
                  </a:extLst>
                </p:cNvPr>
                <p:cNvSpPr txBox="1"/>
                <p:nvPr/>
              </p:nvSpPr>
              <p:spPr>
                <a:xfrm rot="2609628">
                  <a:off x="3166056" y="4470759"/>
                  <a:ext cx="594332" cy="1769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La Granja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44" name="Elipse 43">
                  <a:extLst>
                    <a:ext uri="{FF2B5EF4-FFF2-40B4-BE49-F238E27FC236}">
                      <a16:creationId xmlns:a16="http://schemas.microsoft.com/office/drawing/2014/main" id="{A05C8E54-AD6B-35AA-3F0E-C0FDCA05172C}"/>
                    </a:ext>
                  </a:extLst>
                </p:cNvPr>
                <p:cNvSpPr/>
                <p:nvPr/>
              </p:nvSpPr>
              <p:spPr>
                <a:xfrm>
                  <a:off x="3809199" y="4493416"/>
                  <a:ext cx="85302" cy="82550"/>
                </a:xfrm>
                <a:prstGeom prst="ellipse">
                  <a:avLst/>
                </a:prstGeom>
                <a:solidFill>
                  <a:srgbClr val="64CBEF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45" name="CuadroTexto 44">
                  <a:extLst>
                    <a:ext uri="{FF2B5EF4-FFF2-40B4-BE49-F238E27FC236}">
                      <a16:creationId xmlns:a16="http://schemas.microsoft.com/office/drawing/2014/main" id="{ACC6D513-8741-3881-4EA8-839B6A5768C7}"/>
                    </a:ext>
                  </a:extLst>
                </p:cNvPr>
                <p:cNvSpPr txBox="1"/>
                <p:nvPr/>
              </p:nvSpPr>
              <p:spPr>
                <a:xfrm rot="2609628">
                  <a:off x="3115065" y="4191120"/>
                  <a:ext cx="820805" cy="1926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Santa Julia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46" name="Elipse 45">
                  <a:extLst>
                    <a:ext uri="{FF2B5EF4-FFF2-40B4-BE49-F238E27FC236}">
                      <a16:creationId xmlns:a16="http://schemas.microsoft.com/office/drawing/2014/main" id="{54108F74-9E5E-1289-E47B-2031E4C8742E}"/>
                    </a:ext>
                  </a:extLst>
                </p:cNvPr>
                <p:cNvSpPr/>
                <p:nvPr/>
              </p:nvSpPr>
              <p:spPr>
                <a:xfrm>
                  <a:off x="2871015" y="2420182"/>
                  <a:ext cx="85302" cy="82550"/>
                </a:xfrm>
                <a:prstGeom prst="ellipse">
                  <a:avLst/>
                </a:prstGeom>
                <a:solidFill>
                  <a:srgbClr val="FF0000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48" name="Elipse 47">
                  <a:extLst>
                    <a:ext uri="{FF2B5EF4-FFF2-40B4-BE49-F238E27FC236}">
                      <a16:creationId xmlns:a16="http://schemas.microsoft.com/office/drawing/2014/main" id="{4961CCA9-9E52-6A8D-086C-8247A9D1AF8F}"/>
                    </a:ext>
                  </a:extLst>
                </p:cNvPr>
                <p:cNvSpPr/>
                <p:nvPr/>
              </p:nvSpPr>
              <p:spPr>
                <a:xfrm>
                  <a:off x="4483470" y="2617786"/>
                  <a:ext cx="85302" cy="82550"/>
                </a:xfrm>
                <a:prstGeom prst="ellipse">
                  <a:avLst/>
                </a:prstGeom>
                <a:solidFill>
                  <a:schemeClr val="accent2">
                    <a:lumMod val="50000"/>
                    <a:lumOff val="50000"/>
                  </a:schemeClr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49" name="CuadroTexto 48">
                  <a:extLst>
                    <a:ext uri="{FF2B5EF4-FFF2-40B4-BE49-F238E27FC236}">
                      <a16:creationId xmlns:a16="http://schemas.microsoft.com/office/drawing/2014/main" id="{694FF07D-46F8-6177-6FEC-CAEFE5FD6427}"/>
                    </a:ext>
                  </a:extLst>
                </p:cNvPr>
                <p:cNvSpPr txBox="1"/>
                <p:nvPr/>
              </p:nvSpPr>
              <p:spPr>
                <a:xfrm rot="18641186">
                  <a:off x="4409196" y="2246249"/>
                  <a:ext cx="827712" cy="1926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ES" sz="550" b="1">
                      <a:latin typeface="Century Gothic" panose="020B0502020202020204" pitchFamily="34" charset="0"/>
                    </a:rPr>
                    <a:t>Plaza Egaña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50" name="Elipse 49">
                  <a:extLst>
                    <a:ext uri="{FF2B5EF4-FFF2-40B4-BE49-F238E27FC236}">
                      <a16:creationId xmlns:a16="http://schemas.microsoft.com/office/drawing/2014/main" id="{89E470F5-6955-DA78-94A1-6C5A04DD1040}"/>
                    </a:ext>
                  </a:extLst>
                </p:cNvPr>
                <p:cNvSpPr/>
                <p:nvPr/>
              </p:nvSpPr>
              <p:spPr>
                <a:xfrm>
                  <a:off x="2828364" y="3823891"/>
                  <a:ext cx="85302" cy="82550"/>
                </a:xfrm>
                <a:prstGeom prst="ellipse">
                  <a:avLst/>
                </a:prstGeom>
                <a:solidFill>
                  <a:srgbClr val="FFFF00"/>
                </a:solidFill>
                <a:ln w="6350">
                  <a:solidFill>
                    <a:schemeClr val="tx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s-CL"/>
                </a:p>
              </p:txBody>
            </p:sp>
            <p:sp>
              <p:nvSpPr>
                <p:cNvPr id="51" name="CuadroTexto 50">
                  <a:extLst>
                    <a:ext uri="{FF2B5EF4-FFF2-40B4-BE49-F238E27FC236}">
                      <a16:creationId xmlns:a16="http://schemas.microsoft.com/office/drawing/2014/main" id="{020D4264-C971-5522-D5D8-C47F8DD6EC99}"/>
                    </a:ext>
                  </a:extLst>
                </p:cNvPr>
                <p:cNvSpPr txBox="1"/>
                <p:nvPr/>
              </p:nvSpPr>
              <p:spPr>
                <a:xfrm>
                  <a:off x="1856192" y="3776680"/>
                  <a:ext cx="999331" cy="17697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Departamental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  <p:sp>
              <p:nvSpPr>
                <p:cNvPr id="7" name="CuadroTexto 6">
                  <a:extLst>
                    <a:ext uri="{FF2B5EF4-FFF2-40B4-BE49-F238E27FC236}">
                      <a16:creationId xmlns:a16="http://schemas.microsoft.com/office/drawing/2014/main" id="{BAEB114C-1BA8-667C-06AB-7D8D942B4D3F}"/>
                    </a:ext>
                  </a:extLst>
                </p:cNvPr>
                <p:cNvSpPr txBox="1"/>
                <p:nvPr/>
              </p:nvSpPr>
              <p:spPr>
                <a:xfrm>
                  <a:off x="2211005" y="3046530"/>
                  <a:ext cx="999331" cy="19264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r"/>
                  <a:r>
                    <a:rPr lang="es-ES" sz="550" b="1">
                      <a:latin typeface="Century Gothic" panose="020B0502020202020204" pitchFamily="34" charset="0"/>
                    </a:rPr>
                    <a:t>Franklin</a:t>
                  </a:r>
                  <a:endParaRPr lang="es-CL" sz="550" b="1">
                    <a:latin typeface="Century Gothic" panose="020B0502020202020204" pitchFamily="34" charset="0"/>
                  </a:endParaRPr>
                </a:p>
              </p:txBody>
            </p:sp>
          </p:grpSp>
          <p:sp>
            <p:nvSpPr>
              <p:cNvPr id="35" name="Elipse 34">
                <a:extLst>
                  <a:ext uri="{FF2B5EF4-FFF2-40B4-BE49-F238E27FC236}">
                    <a16:creationId xmlns:a16="http://schemas.microsoft.com/office/drawing/2014/main" id="{57494383-BE9B-D95B-889D-9F35285F2986}"/>
                  </a:ext>
                </a:extLst>
              </p:cNvPr>
              <p:cNvSpPr/>
              <p:nvPr/>
            </p:nvSpPr>
            <p:spPr>
              <a:xfrm>
                <a:off x="1188030" y="2727432"/>
                <a:ext cx="89358" cy="86475"/>
              </a:xfrm>
              <a:prstGeom prst="ellipse">
                <a:avLst/>
              </a:prstGeom>
              <a:solidFill>
                <a:srgbClr val="FF0000"/>
              </a:solidFill>
              <a:ln w="6350"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CL"/>
              </a:p>
            </p:txBody>
          </p:sp>
          <p:sp>
            <p:nvSpPr>
              <p:cNvPr id="36" name="CuadroTexto 35">
                <a:extLst>
                  <a:ext uri="{FF2B5EF4-FFF2-40B4-BE49-F238E27FC236}">
                    <a16:creationId xmlns:a16="http://schemas.microsoft.com/office/drawing/2014/main" id="{B9C463FE-498D-C881-C40A-04BDC88F2B85}"/>
                  </a:ext>
                </a:extLst>
              </p:cNvPr>
              <p:cNvSpPr txBox="1"/>
              <p:nvPr/>
            </p:nvSpPr>
            <p:spPr>
              <a:xfrm>
                <a:off x="1210700" y="2671718"/>
                <a:ext cx="1046843" cy="1769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550" b="1">
                    <a:latin typeface="Century Gothic" panose="020B0502020202020204" pitchFamily="34" charset="0"/>
                  </a:rPr>
                  <a:t>Neptuno</a:t>
                </a:r>
                <a:endParaRPr lang="es-CL" sz="550" b="1"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3" name="CuadroTexto 2">
              <a:extLst>
                <a:ext uri="{FF2B5EF4-FFF2-40B4-BE49-F238E27FC236}">
                  <a16:creationId xmlns:a16="http://schemas.microsoft.com/office/drawing/2014/main" id="{8613F6BD-BDF5-C89C-D465-A3ED8FA7A938}"/>
                </a:ext>
              </a:extLst>
            </p:cNvPr>
            <p:cNvSpPr txBox="1"/>
            <p:nvPr/>
          </p:nvSpPr>
          <p:spPr>
            <a:xfrm>
              <a:off x="2462374" y="2926695"/>
              <a:ext cx="598343" cy="176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550" b="1">
                  <a:latin typeface="Century Gothic" panose="020B0502020202020204" pitchFamily="34" charset="0"/>
                </a:rPr>
                <a:t>U de Chile</a:t>
              </a:r>
              <a:endParaRPr lang="es-CL" sz="550" b="1">
                <a:latin typeface="Century Gothic" panose="020B0502020202020204" pitchFamily="34" charset="0"/>
              </a:endParaRPr>
            </a:p>
          </p:txBody>
        </p:sp>
        <p:sp>
          <p:nvSpPr>
            <p:cNvPr id="6" name="Elipse 5">
              <a:extLst>
                <a:ext uri="{FF2B5EF4-FFF2-40B4-BE49-F238E27FC236}">
                  <a16:creationId xmlns:a16="http://schemas.microsoft.com/office/drawing/2014/main" id="{06B4E980-D80C-5000-CDCC-048D56D84C87}"/>
                </a:ext>
              </a:extLst>
            </p:cNvPr>
            <p:cNvSpPr/>
            <p:nvPr/>
          </p:nvSpPr>
          <p:spPr>
            <a:xfrm>
              <a:off x="2498857" y="3658655"/>
              <a:ext cx="78363" cy="75835"/>
            </a:xfrm>
            <a:prstGeom prst="ellipse">
              <a:avLst/>
            </a:prstGeom>
            <a:solidFill>
              <a:srgbClr val="FFFF00"/>
            </a:solidFill>
            <a:ln w="6350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27690894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68;p9">
            <a:extLst>
              <a:ext uri="{FF2B5EF4-FFF2-40B4-BE49-F238E27FC236}">
                <a16:creationId xmlns:a16="http://schemas.microsoft.com/office/drawing/2014/main" id="{069725A5-7A57-4DF1-DEA2-05E7C4131DE4}"/>
              </a:ext>
            </a:extLst>
          </p:cNvPr>
          <p:cNvSpPr txBox="1"/>
          <p:nvPr/>
        </p:nvSpPr>
        <p:spPr>
          <a:xfrm>
            <a:off x="0" y="6562162"/>
            <a:ext cx="52099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s-CL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Century Gothic"/>
                <a:cs typeface="Century Gothic"/>
                <a:sym typeface="Century Gothic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9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50077DC2-DC62-77D7-BD04-FE564014E4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1735" y="1423893"/>
            <a:ext cx="5679767" cy="4812681"/>
          </a:xfrm>
          <a:prstGeom prst="rect">
            <a:avLst/>
          </a:prstGeom>
        </p:spPr>
      </p:pic>
      <p:pic>
        <p:nvPicPr>
          <p:cNvPr id="11" name="Imagen 10" descr="Un puente arriba de un edificio&#10;&#10;Descripción generada automáticamente con confianza media">
            <a:extLst>
              <a:ext uri="{FF2B5EF4-FFF2-40B4-BE49-F238E27FC236}">
                <a16:creationId xmlns:a16="http://schemas.microsoft.com/office/drawing/2014/main" id="{828A1316-E793-7B36-1787-09BDF793358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1715" r="31699" b="8476"/>
          <a:stretch/>
        </p:blipFill>
        <p:spPr>
          <a:xfrm>
            <a:off x="260499" y="1098306"/>
            <a:ext cx="5679768" cy="5144103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0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Eq6rN3LaDXM.CV_oNW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1bsrMGk6D_rqKXGcu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1bsrMGk6D_rqKXGcu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1bsrMGk6D_rqKXGcuC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1bsrMGk6D_rqKXGcu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1bsrMGk6D_rqKXGcu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1bsrMGk6D_rqKXGcu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1bsrMGk6D_rqKXGcuC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1bsrMGk6D_rqKXGcu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1bsrMGk6D_rqKXGcu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1bsrMGk6D_rqKXGcuC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1bsrMGk6D_rqKXGcu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Eq6rN3LaDXM.CV_oNWk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1bsrMGk6D_rqKXGcuC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1bsrMGk6D_rqKXGcuC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Eq6rN3LaDXM.CV_oNW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1_L3 2019 Gotham">
  <a:themeElements>
    <a:clrScheme name="Metro de santiago">
      <a:dk1>
        <a:srgbClr val="000000"/>
      </a:dk1>
      <a:lt1>
        <a:srgbClr val="F2F2F2"/>
      </a:lt1>
      <a:dk2>
        <a:srgbClr val="3C3C3C"/>
      </a:dk2>
      <a:lt2>
        <a:srgbClr val="000000"/>
      </a:lt2>
      <a:accent1>
        <a:srgbClr val="FF0000"/>
      </a:accent1>
      <a:accent2>
        <a:srgbClr val="002060"/>
      </a:accent2>
      <a:accent3>
        <a:srgbClr val="E65A0A"/>
      </a:accent3>
      <a:accent4>
        <a:srgbClr val="00ACA7"/>
      </a:accent4>
      <a:accent5>
        <a:srgbClr val="00B0F0"/>
      </a:accent5>
      <a:accent6>
        <a:srgbClr val="7F7F7F"/>
      </a:accent6>
      <a:hlink>
        <a:srgbClr val="FF0000"/>
      </a:hlink>
      <a:folHlink>
        <a:srgbClr val="FFC000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3 2019 Gotham" id="{0ECE5291-7A04-403D-A04E-126D17D185D3}" vid="{2A328035-4741-4FC9-A609-6780AD6734DC}"/>
    </a:ext>
  </a:extLst>
</a:theme>
</file>

<file path=ppt/theme/theme2.xml><?xml version="1.0" encoding="utf-8"?>
<a:theme xmlns:a="http://schemas.openxmlformats.org/drawingml/2006/main" name="12_L3 2019 Gotham">
  <a:themeElements>
    <a:clrScheme name="Metro de santiago">
      <a:dk1>
        <a:srgbClr val="000000"/>
      </a:dk1>
      <a:lt1>
        <a:srgbClr val="F2F2F2"/>
      </a:lt1>
      <a:dk2>
        <a:srgbClr val="3C3C3C"/>
      </a:dk2>
      <a:lt2>
        <a:srgbClr val="000000"/>
      </a:lt2>
      <a:accent1>
        <a:srgbClr val="FF0000"/>
      </a:accent1>
      <a:accent2>
        <a:srgbClr val="002060"/>
      </a:accent2>
      <a:accent3>
        <a:srgbClr val="E65A0A"/>
      </a:accent3>
      <a:accent4>
        <a:srgbClr val="00ACA7"/>
      </a:accent4>
      <a:accent5>
        <a:srgbClr val="00B0F0"/>
      </a:accent5>
      <a:accent6>
        <a:srgbClr val="7F7F7F"/>
      </a:accent6>
      <a:hlink>
        <a:srgbClr val="FF0000"/>
      </a:hlink>
      <a:folHlink>
        <a:srgbClr val="FFC000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3 2019 Gotham" id="{0ECE5291-7A04-403D-A04E-126D17D185D3}" vid="{2A328035-4741-4FC9-A609-6780AD6734DC}"/>
    </a:ext>
  </a:extLst>
</a:theme>
</file>

<file path=ppt/theme/theme3.xml><?xml version="1.0" encoding="utf-8"?>
<a:theme xmlns:a="http://schemas.openxmlformats.org/drawingml/2006/main" name="13_L3 2019 Gotham">
  <a:themeElements>
    <a:clrScheme name="Metro de santiago">
      <a:dk1>
        <a:srgbClr val="000000"/>
      </a:dk1>
      <a:lt1>
        <a:srgbClr val="F2F2F2"/>
      </a:lt1>
      <a:dk2>
        <a:srgbClr val="3C3C3C"/>
      </a:dk2>
      <a:lt2>
        <a:srgbClr val="000000"/>
      </a:lt2>
      <a:accent1>
        <a:srgbClr val="FF0000"/>
      </a:accent1>
      <a:accent2>
        <a:srgbClr val="002060"/>
      </a:accent2>
      <a:accent3>
        <a:srgbClr val="E65A0A"/>
      </a:accent3>
      <a:accent4>
        <a:srgbClr val="00ACA7"/>
      </a:accent4>
      <a:accent5>
        <a:srgbClr val="00B0F0"/>
      </a:accent5>
      <a:accent6>
        <a:srgbClr val="7F7F7F"/>
      </a:accent6>
      <a:hlink>
        <a:srgbClr val="FF0000"/>
      </a:hlink>
      <a:folHlink>
        <a:srgbClr val="FFC000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3 2019 Gotham" id="{0ECE5291-7A04-403D-A04E-126D17D185D3}" vid="{2A328035-4741-4FC9-A609-6780AD6734DC}"/>
    </a:ext>
  </a:extLst>
</a:theme>
</file>

<file path=ppt/theme/theme4.xml><?xml version="1.0" encoding="utf-8"?>
<a:theme xmlns:a="http://schemas.openxmlformats.org/drawingml/2006/main" name="1_Corporativo Metro 2022">
  <a:themeElements>
    <a:clrScheme name="Personalizado 1">
      <a:dk1>
        <a:srgbClr val="000000"/>
      </a:dk1>
      <a:lt1>
        <a:srgbClr val="FFFFFF"/>
      </a:lt1>
      <a:dk2>
        <a:srgbClr val="3C3C3C"/>
      </a:dk2>
      <a:lt2>
        <a:srgbClr val="000000"/>
      </a:lt2>
      <a:accent1>
        <a:srgbClr val="FF0000"/>
      </a:accent1>
      <a:accent2>
        <a:srgbClr val="002060"/>
      </a:accent2>
      <a:accent3>
        <a:srgbClr val="E65A0A"/>
      </a:accent3>
      <a:accent4>
        <a:srgbClr val="00ACA7"/>
      </a:accent4>
      <a:accent5>
        <a:srgbClr val="00B0F0"/>
      </a:accent5>
      <a:accent6>
        <a:srgbClr val="7F7F7F"/>
      </a:accent6>
      <a:hlink>
        <a:srgbClr val="FF0000"/>
      </a:hlink>
      <a:folHlink>
        <a:srgbClr val="FFC0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ólidos sutile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rporativo Metro 2022" id="{D666D514-BAA9-4E2A-94B4-FB6A45519958}" vid="{AD1D0A17-5735-481B-AAB7-C6B3D23AF602}"/>
    </a:ext>
  </a:extLst>
</a:theme>
</file>

<file path=ppt/theme/theme5.xml><?xml version="1.0" encoding="utf-8"?>
<a:theme xmlns:a="http://schemas.openxmlformats.org/drawingml/2006/main" name="2_Corporativo Metro 2022">
  <a:themeElements>
    <a:clrScheme name="Personalizado 1">
      <a:dk1>
        <a:srgbClr val="000000"/>
      </a:dk1>
      <a:lt1>
        <a:srgbClr val="FFFFFF"/>
      </a:lt1>
      <a:dk2>
        <a:srgbClr val="3C3C3C"/>
      </a:dk2>
      <a:lt2>
        <a:srgbClr val="000000"/>
      </a:lt2>
      <a:accent1>
        <a:srgbClr val="FF0000"/>
      </a:accent1>
      <a:accent2>
        <a:srgbClr val="002060"/>
      </a:accent2>
      <a:accent3>
        <a:srgbClr val="E65A0A"/>
      </a:accent3>
      <a:accent4>
        <a:srgbClr val="00ACA7"/>
      </a:accent4>
      <a:accent5>
        <a:srgbClr val="00B0F0"/>
      </a:accent5>
      <a:accent6>
        <a:srgbClr val="7F7F7F"/>
      </a:accent6>
      <a:hlink>
        <a:srgbClr val="FF0000"/>
      </a:hlink>
      <a:folHlink>
        <a:srgbClr val="FFC0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ólidos sutile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rporativo Metro 2022" id="{D666D514-BAA9-4E2A-94B4-FB6A45519958}" vid="{AD1D0A17-5735-481B-AAB7-C6B3D23AF602}"/>
    </a:ext>
  </a:extLst>
</a:theme>
</file>

<file path=ppt/theme/theme6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0dcd31e-9298-4472-b6ac-d7694960e993">
      <UserInfo>
        <DisplayName>Felipe Bravo</DisplayName>
        <AccountId>15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47AD59640A2F843BCCAA62ACB3FF766" ma:contentTypeVersion="6" ma:contentTypeDescription="Crear nuevo documento." ma:contentTypeScope="" ma:versionID="075069661ecd5448964f4090477fa5d1">
  <xsd:schema xmlns:xsd="http://www.w3.org/2001/XMLSchema" xmlns:xs="http://www.w3.org/2001/XMLSchema" xmlns:p="http://schemas.microsoft.com/office/2006/metadata/properties" xmlns:ns2="fb7553c3-65ca-4b87-9d40-34e73ca4d3f9" xmlns:ns3="20dcd31e-9298-4472-b6ac-d7694960e993" targetNamespace="http://schemas.microsoft.com/office/2006/metadata/properties" ma:root="true" ma:fieldsID="f5b8bf4ec051183c991311e9fb70e24c" ns2:_="" ns3:_="">
    <xsd:import namespace="fb7553c3-65ca-4b87-9d40-34e73ca4d3f9"/>
    <xsd:import namespace="20dcd31e-9298-4472-b6ac-d7694960e99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7553c3-65ca-4b87-9d40-34e73ca4d3f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dcd31e-9298-4472-b6ac-d7694960e99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9114BC6-9253-4393-955D-77EE476EA97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D730A96-83D9-4EF4-8CC4-97FBA0386EBB}">
  <ds:schemaRefs>
    <ds:schemaRef ds:uri="fb7553c3-65ca-4b87-9d40-34e73ca4d3f9"/>
    <ds:schemaRef ds:uri="http://purl.org/dc/dcmitype/"/>
    <ds:schemaRef ds:uri="20dcd31e-9298-4472-b6ac-d7694960e993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5F57D252-BDA4-4C3E-A861-CEC90CFA1509}">
  <ds:schemaRefs>
    <ds:schemaRef ds:uri="20dcd31e-9298-4472-b6ac-d7694960e993"/>
    <ds:schemaRef ds:uri="fb7553c3-65ca-4b87-9d40-34e73ca4d3f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81</Words>
  <Application>Microsoft Office PowerPoint</Application>
  <PresentationFormat>Panorámica</PresentationFormat>
  <Paragraphs>222</Paragraphs>
  <Slides>22</Slides>
  <Notes>11</Notes>
  <HiddenSlides>2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2</vt:i4>
      </vt:variant>
    </vt:vector>
  </HeadingPairs>
  <TitlesOfParts>
    <vt:vector size="35" baseType="lpstr">
      <vt:lpstr>Arial</vt:lpstr>
      <vt:lpstr>Ariel</vt:lpstr>
      <vt:lpstr>Calibri</vt:lpstr>
      <vt:lpstr>Century Gothic</vt:lpstr>
      <vt:lpstr>Consolas</vt:lpstr>
      <vt:lpstr>Gotham</vt:lpstr>
      <vt:lpstr>11_L3 2019 Gotham</vt:lpstr>
      <vt:lpstr>12_L3 2019 Gotham</vt:lpstr>
      <vt:lpstr>13_L3 2019 Gotham</vt:lpstr>
      <vt:lpstr>1_Corporativo Metro 2022</vt:lpstr>
      <vt:lpstr>2_Corporativo Metro 2022</vt:lpstr>
      <vt:lpstr>2_Tema de Office</vt:lpstr>
      <vt:lpstr>Diapositiva de think-cell</vt:lpstr>
      <vt:lpstr>Presentación de PowerPoint</vt:lpstr>
      <vt:lpstr>Revalorización del interior de las estaciones convencionales 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Estación Universidad de Chile – Vista General Nivel -2</vt:lpstr>
      <vt:lpstr>Estación Universidad de Chile – Imágenes Objetivo</vt:lpstr>
      <vt:lpstr>Imágenes objetivo  Estación Universidad de Chile 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orte de Gestión</dc:title>
  <dc:creator>Carla Dagnino</dc:creator>
  <cp:lastModifiedBy>Rodrigo Fuentes</cp:lastModifiedBy>
  <cp:revision>1</cp:revision>
  <dcterms:created xsi:type="dcterms:W3CDTF">2019-12-05T21:24:09Z</dcterms:created>
  <dcterms:modified xsi:type="dcterms:W3CDTF">2024-12-16T19:4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47AD59640A2F843BCCAA62ACB3FF766</vt:lpwstr>
  </property>
</Properties>
</file>